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notesSlides/notesSlide1.xml" ContentType="application/vnd.openxmlformats-officedocument.presentationml.notesSlide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notesSlides/notesSlide2.xml" ContentType="application/vnd.openxmlformats-officedocument.presentationml.notesSlide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notesSlides/notesSlide3.xml" ContentType="application/vnd.openxmlformats-officedocument.presentationml.notesSlide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4136" r:id="rId6"/>
    <p:sldMasterId id="2147484341" r:id="rId7"/>
    <p:sldMasterId id="2147484373" r:id="rId8"/>
    <p:sldMasterId id="2147484389" r:id="rId9"/>
    <p:sldMasterId id="2147484404" r:id="rId10"/>
    <p:sldMasterId id="2147484419" r:id="rId11"/>
  </p:sldMasterIdLst>
  <p:notesMasterIdLst>
    <p:notesMasterId r:id="rId16"/>
  </p:notesMasterIdLst>
  <p:handoutMasterIdLst>
    <p:handoutMasterId r:id="rId17"/>
  </p:handoutMasterIdLst>
  <p:sldIdLst>
    <p:sldId id="2146845534" r:id="rId12"/>
    <p:sldId id="2146845838" r:id="rId13"/>
    <p:sldId id="2146845841" r:id="rId14"/>
    <p:sldId id="2146845896" r:id="rId15"/>
  </p:sldIdLst>
  <p:sldSz cx="12192000" cy="6858000"/>
  <p:notesSz cx="7102475" cy="938847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09" userDrawn="1">
          <p15:clr>
            <a:srgbClr val="A4A3A4"/>
          </p15:clr>
        </p15:guide>
        <p15:guide id="2" orient="horz" pos="1272" userDrawn="1">
          <p15:clr>
            <a:srgbClr val="A4A3A4"/>
          </p15:clr>
        </p15:guide>
        <p15:guide id="3" orient="horz" pos="1464" userDrawn="1">
          <p15:clr>
            <a:srgbClr val="A4A3A4"/>
          </p15:clr>
        </p15:guide>
        <p15:guide id="4" orient="horz" pos="2293" userDrawn="1">
          <p15:clr>
            <a:srgbClr val="A4A3A4"/>
          </p15:clr>
        </p15:guide>
        <p15:guide id="5" pos="3484" userDrawn="1">
          <p15:clr>
            <a:srgbClr val="A4A3A4"/>
          </p15:clr>
        </p15:guide>
        <p15:guide id="6" pos="37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Kelly Gardner" initials="KG" lastIdx="4" clrIdx="1">
    <p:extLst>
      <p:ext uri="{19B8F6BF-5375-455C-9EA6-DF929625EA0E}">
        <p15:presenceInfo xmlns:p15="http://schemas.microsoft.com/office/powerpoint/2012/main" userId="Kelly Gardn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BDE8"/>
    <a:srgbClr val="397AAC"/>
    <a:srgbClr val="E6576D"/>
    <a:srgbClr val="DF9AA4"/>
    <a:srgbClr val="FFC000"/>
    <a:srgbClr val="B3B3B3"/>
    <a:srgbClr val="0C4169"/>
    <a:srgbClr val="70AD47"/>
    <a:srgbClr val="00B0F0"/>
    <a:srgbClr val="E9E9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83DA0B-FF19-48A5-A711-7E190861A72F}" v="2" dt="2022-01-12T14:26:19.7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45" autoAdjust="0"/>
    <p:restoredTop sz="95226" autoAdjust="0"/>
  </p:normalViewPr>
  <p:slideViewPr>
    <p:cSldViewPr snapToGrid="0">
      <p:cViewPr varScale="1">
        <p:scale>
          <a:sx n="52" d="100"/>
          <a:sy n="52" d="100"/>
        </p:scale>
        <p:origin x="84" y="180"/>
      </p:cViewPr>
      <p:guideLst>
        <p:guide orient="horz" pos="1909"/>
        <p:guide orient="horz" pos="1272"/>
        <p:guide orient="horz" pos="1464"/>
        <p:guide orient="horz" pos="2293"/>
        <p:guide pos="3484"/>
        <p:guide pos="37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2792"/>
    </p:cViewPr>
  </p:sorterViewPr>
  <p:notesViewPr>
    <p:cSldViewPr snapToGrid="0">
      <p:cViewPr>
        <p:scale>
          <a:sx n="75" d="100"/>
          <a:sy n="75" d="100"/>
        </p:scale>
        <p:origin x="3204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2 Januar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2 January 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2 January 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983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273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672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386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image" Target="../media/image4.jpeg"/><Relationship Id="rId5" Type="http://schemas.openxmlformats.org/officeDocument/2006/relationships/tags" Target="../tags/tag25.xml"/><Relationship Id="rId10" Type="http://schemas.openxmlformats.org/officeDocument/2006/relationships/image" Target="../media/image3.png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5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7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82.xml"/><Relationship Id="rId7" Type="http://schemas.openxmlformats.org/officeDocument/2006/relationships/oleObject" Target="../embeddings/oleObject107.bin"/><Relationship Id="rId2" Type="http://schemas.openxmlformats.org/officeDocument/2006/relationships/tags" Target="../tags/tag781.xml"/><Relationship Id="rId1" Type="http://schemas.openxmlformats.org/officeDocument/2006/relationships/vmlDrawing" Target="../drawings/vmlDrawing10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784.xml"/><Relationship Id="rId4" Type="http://schemas.openxmlformats.org/officeDocument/2006/relationships/tags" Target="../tags/tag783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785.xml"/><Relationship Id="rId1" Type="http://schemas.openxmlformats.org/officeDocument/2006/relationships/vmlDrawing" Target="../drawings/vmlDrawing108.v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Relationship Id="rId9" Type="http://schemas.openxmlformats.org/officeDocument/2006/relationships/image" Target="../media/image8.png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807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06.xml"/><Relationship Id="rId1" Type="http://schemas.openxmlformats.org/officeDocument/2006/relationships/vmlDrawing" Target="../drawings/vmlDrawing110.vml"/><Relationship Id="rId6" Type="http://schemas.openxmlformats.org/officeDocument/2006/relationships/tags" Target="../tags/tag810.xml"/><Relationship Id="rId11" Type="http://schemas.openxmlformats.org/officeDocument/2006/relationships/image" Target="../media/image4.jpeg"/><Relationship Id="rId5" Type="http://schemas.openxmlformats.org/officeDocument/2006/relationships/tags" Target="../tags/tag809.xml"/><Relationship Id="rId10" Type="http://schemas.openxmlformats.org/officeDocument/2006/relationships/image" Target="../media/image3.png"/><Relationship Id="rId4" Type="http://schemas.openxmlformats.org/officeDocument/2006/relationships/tags" Target="../tags/tag808.xml"/><Relationship Id="rId9" Type="http://schemas.openxmlformats.org/officeDocument/2006/relationships/image" Target="../media/image2.emf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817.xml"/><Relationship Id="rId3" Type="http://schemas.openxmlformats.org/officeDocument/2006/relationships/tags" Target="../tags/tag812.xml"/><Relationship Id="rId7" Type="http://schemas.openxmlformats.org/officeDocument/2006/relationships/tags" Target="../tags/tag816.xml"/><Relationship Id="rId2" Type="http://schemas.openxmlformats.org/officeDocument/2006/relationships/tags" Target="../tags/tag811.xml"/><Relationship Id="rId1" Type="http://schemas.openxmlformats.org/officeDocument/2006/relationships/vmlDrawing" Target="../drawings/vmlDrawing111.vml"/><Relationship Id="rId6" Type="http://schemas.openxmlformats.org/officeDocument/2006/relationships/tags" Target="../tags/tag815.xml"/><Relationship Id="rId11" Type="http://schemas.openxmlformats.org/officeDocument/2006/relationships/image" Target="../media/image1.emf"/><Relationship Id="rId5" Type="http://schemas.openxmlformats.org/officeDocument/2006/relationships/tags" Target="../tags/tag814.xml"/><Relationship Id="rId10" Type="http://schemas.openxmlformats.org/officeDocument/2006/relationships/oleObject" Target="../embeddings/oleObject111.bin"/><Relationship Id="rId4" Type="http://schemas.openxmlformats.org/officeDocument/2006/relationships/tags" Target="../tags/tag813.xml"/><Relationship Id="rId9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19.xml"/><Relationship Id="rId7" Type="http://schemas.openxmlformats.org/officeDocument/2006/relationships/tags" Target="../tags/tag823.xml"/><Relationship Id="rId2" Type="http://schemas.openxmlformats.org/officeDocument/2006/relationships/tags" Target="../tags/tag818.xml"/><Relationship Id="rId1" Type="http://schemas.openxmlformats.org/officeDocument/2006/relationships/vmlDrawing" Target="../drawings/vmlDrawing112.vml"/><Relationship Id="rId6" Type="http://schemas.openxmlformats.org/officeDocument/2006/relationships/tags" Target="../tags/tag822.xml"/><Relationship Id="rId5" Type="http://schemas.openxmlformats.org/officeDocument/2006/relationships/tags" Target="../tags/tag821.xml"/><Relationship Id="rId10" Type="http://schemas.openxmlformats.org/officeDocument/2006/relationships/image" Target="../media/image2.emf"/><Relationship Id="rId4" Type="http://schemas.openxmlformats.org/officeDocument/2006/relationships/tags" Target="../tags/tag820.xml"/><Relationship Id="rId9" Type="http://schemas.openxmlformats.org/officeDocument/2006/relationships/oleObject" Target="../embeddings/oleObject112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25.xml"/><Relationship Id="rId7" Type="http://schemas.openxmlformats.org/officeDocument/2006/relationships/tags" Target="../tags/tag829.xml"/><Relationship Id="rId2" Type="http://schemas.openxmlformats.org/officeDocument/2006/relationships/tags" Target="../tags/tag824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828.xml"/><Relationship Id="rId5" Type="http://schemas.openxmlformats.org/officeDocument/2006/relationships/tags" Target="../tags/tag827.xml"/><Relationship Id="rId10" Type="http://schemas.openxmlformats.org/officeDocument/2006/relationships/image" Target="../media/image2.emf"/><Relationship Id="rId4" Type="http://schemas.openxmlformats.org/officeDocument/2006/relationships/tags" Target="../tags/tag826.xml"/><Relationship Id="rId9" Type="http://schemas.openxmlformats.org/officeDocument/2006/relationships/oleObject" Target="../embeddings/oleObject113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31.xml"/><Relationship Id="rId7" Type="http://schemas.openxmlformats.org/officeDocument/2006/relationships/tags" Target="../tags/tag835.xml"/><Relationship Id="rId2" Type="http://schemas.openxmlformats.org/officeDocument/2006/relationships/tags" Target="../tags/tag830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834.xml"/><Relationship Id="rId5" Type="http://schemas.openxmlformats.org/officeDocument/2006/relationships/tags" Target="../tags/tag833.xml"/><Relationship Id="rId10" Type="http://schemas.openxmlformats.org/officeDocument/2006/relationships/image" Target="../media/image2.emf"/><Relationship Id="rId4" Type="http://schemas.openxmlformats.org/officeDocument/2006/relationships/tags" Target="../tags/tag832.xml"/><Relationship Id="rId9" Type="http://schemas.openxmlformats.org/officeDocument/2006/relationships/oleObject" Target="../embeddings/oleObject114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842.xml"/><Relationship Id="rId3" Type="http://schemas.openxmlformats.org/officeDocument/2006/relationships/tags" Target="../tags/tag837.xml"/><Relationship Id="rId7" Type="http://schemas.openxmlformats.org/officeDocument/2006/relationships/tags" Target="../tags/tag841.xml"/><Relationship Id="rId2" Type="http://schemas.openxmlformats.org/officeDocument/2006/relationships/tags" Target="../tags/tag836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840.xml"/><Relationship Id="rId11" Type="http://schemas.openxmlformats.org/officeDocument/2006/relationships/image" Target="../media/image2.emf"/><Relationship Id="rId5" Type="http://schemas.openxmlformats.org/officeDocument/2006/relationships/tags" Target="../tags/tag839.xml"/><Relationship Id="rId10" Type="http://schemas.openxmlformats.org/officeDocument/2006/relationships/oleObject" Target="../embeddings/oleObject115.bin"/><Relationship Id="rId4" Type="http://schemas.openxmlformats.org/officeDocument/2006/relationships/tags" Target="../tags/tag838.xml"/><Relationship Id="rId9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849.xml"/><Relationship Id="rId3" Type="http://schemas.openxmlformats.org/officeDocument/2006/relationships/tags" Target="../tags/tag844.xml"/><Relationship Id="rId7" Type="http://schemas.openxmlformats.org/officeDocument/2006/relationships/tags" Target="../tags/tag848.xml"/><Relationship Id="rId12" Type="http://schemas.openxmlformats.org/officeDocument/2006/relationships/image" Target="../media/image1.emf"/><Relationship Id="rId2" Type="http://schemas.openxmlformats.org/officeDocument/2006/relationships/tags" Target="../tags/tag843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847.xml"/><Relationship Id="rId11" Type="http://schemas.openxmlformats.org/officeDocument/2006/relationships/oleObject" Target="../embeddings/oleObject116.bin"/><Relationship Id="rId5" Type="http://schemas.openxmlformats.org/officeDocument/2006/relationships/tags" Target="../tags/tag846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845.xml"/><Relationship Id="rId9" Type="http://schemas.openxmlformats.org/officeDocument/2006/relationships/tags" Target="../tags/tag850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857.xml"/><Relationship Id="rId3" Type="http://schemas.openxmlformats.org/officeDocument/2006/relationships/tags" Target="../tags/tag852.xml"/><Relationship Id="rId7" Type="http://schemas.openxmlformats.org/officeDocument/2006/relationships/tags" Target="../tags/tag856.xml"/><Relationship Id="rId12" Type="http://schemas.openxmlformats.org/officeDocument/2006/relationships/image" Target="../media/image1.emf"/><Relationship Id="rId2" Type="http://schemas.openxmlformats.org/officeDocument/2006/relationships/tags" Target="../tags/tag851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855.xml"/><Relationship Id="rId11" Type="http://schemas.openxmlformats.org/officeDocument/2006/relationships/oleObject" Target="../embeddings/oleObject117.bin"/><Relationship Id="rId5" Type="http://schemas.openxmlformats.org/officeDocument/2006/relationships/tags" Target="../tags/tag854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853.xml"/><Relationship Id="rId9" Type="http://schemas.openxmlformats.org/officeDocument/2006/relationships/tags" Target="../tags/tag858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5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865.xml"/><Relationship Id="rId3" Type="http://schemas.openxmlformats.org/officeDocument/2006/relationships/tags" Target="../tags/tag860.xml"/><Relationship Id="rId7" Type="http://schemas.openxmlformats.org/officeDocument/2006/relationships/tags" Target="../tags/tag864.xml"/><Relationship Id="rId12" Type="http://schemas.openxmlformats.org/officeDocument/2006/relationships/image" Target="../media/image1.emf"/><Relationship Id="rId2" Type="http://schemas.openxmlformats.org/officeDocument/2006/relationships/tags" Target="../tags/tag859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863.xml"/><Relationship Id="rId11" Type="http://schemas.openxmlformats.org/officeDocument/2006/relationships/oleObject" Target="../embeddings/oleObject118.bin"/><Relationship Id="rId5" Type="http://schemas.openxmlformats.org/officeDocument/2006/relationships/tags" Target="../tags/tag862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861.xml"/><Relationship Id="rId9" Type="http://schemas.openxmlformats.org/officeDocument/2006/relationships/tags" Target="../tags/tag866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873.xml"/><Relationship Id="rId3" Type="http://schemas.openxmlformats.org/officeDocument/2006/relationships/tags" Target="../tags/tag868.xml"/><Relationship Id="rId7" Type="http://schemas.openxmlformats.org/officeDocument/2006/relationships/tags" Target="../tags/tag872.xml"/><Relationship Id="rId12" Type="http://schemas.openxmlformats.org/officeDocument/2006/relationships/image" Target="../media/image5.emf"/><Relationship Id="rId2" Type="http://schemas.openxmlformats.org/officeDocument/2006/relationships/tags" Target="../tags/tag867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871.xml"/><Relationship Id="rId11" Type="http://schemas.openxmlformats.org/officeDocument/2006/relationships/oleObject" Target="../embeddings/oleObject119.bin"/><Relationship Id="rId5" Type="http://schemas.openxmlformats.org/officeDocument/2006/relationships/tags" Target="../tags/tag870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869.xml"/><Relationship Id="rId9" Type="http://schemas.openxmlformats.org/officeDocument/2006/relationships/tags" Target="../tags/tag874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881.xml"/><Relationship Id="rId3" Type="http://schemas.openxmlformats.org/officeDocument/2006/relationships/tags" Target="../tags/tag876.xml"/><Relationship Id="rId7" Type="http://schemas.openxmlformats.org/officeDocument/2006/relationships/tags" Target="../tags/tag880.xml"/><Relationship Id="rId12" Type="http://schemas.openxmlformats.org/officeDocument/2006/relationships/image" Target="../media/image1.emf"/><Relationship Id="rId2" Type="http://schemas.openxmlformats.org/officeDocument/2006/relationships/tags" Target="../tags/tag875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879.xml"/><Relationship Id="rId11" Type="http://schemas.openxmlformats.org/officeDocument/2006/relationships/oleObject" Target="../embeddings/oleObject120.bin"/><Relationship Id="rId5" Type="http://schemas.openxmlformats.org/officeDocument/2006/relationships/tags" Target="../tags/tag878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877.xml"/><Relationship Id="rId9" Type="http://schemas.openxmlformats.org/officeDocument/2006/relationships/tags" Target="../tags/tag882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84.xml"/><Relationship Id="rId7" Type="http://schemas.openxmlformats.org/officeDocument/2006/relationships/tags" Target="../tags/tag888.xml"/><Relationship Id="rId2" Type="http://schemas.openxmlformats.org/officeDocument/2006/relationships/tags" Target="../tags/tag883.xml"/><Relationship Id="rId1" Type="http://schemas.openxmlformats.org/officeDocument/2006/relationships/vmlDrawing" Target="../drawings/vmlDrawing121.vml"/><Relationship Id="rId6" Type="http://schemas.openxmlformats.org/officeDocument/2006/relationships/tags" Target="../tags/tag887.xml"/><Relationship Id="rId5" Type="http://schemas.openxmlformats.org/officeDocument/2006/relationships/tags" Target="../tags/tag886.xml"/><Relationship Id="rId10" Type="http://schemas.openxmlformats.org/officeDocument/2006/relationships/image" Target="../media/image2.emf"/><Relationship Id="rId4" Type="http://schemas.openxmlformats.org/officeDocument/2006/relationships/tags" Target="../tags/tag885.xml"/><Relationship Id="rId9" Type="http://schemas.openxmlformats.org/officeDocument/2006/relationships/oleObject" Target="../embeddings/oleObject121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90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889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892.xml"/><Relationship Id="rId4" Type="http://schemas.openxmlformats.org/officeDocument/2006/relationships/tags" Target="../tags/tag891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hyperlink" Target="http://www.osbm.nc.gov/" TargetMode="External"/><Relationship Id="rId2" Type="http://schemas.openxmlformats.org/officeDocument/2006/relationships/tags" Target="../tags/tag89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Relationship Id="rId9" Type="http://schemas.openxmlformats.org/officeDocument/2006/relationships/image" Target="../media/image8.png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900.xml"/><Relationship Id="rId3" Type="http://schemas.openxmlformats.org/officeDocument/2006/relationships/tags" Target="../tags/tag895.xml"/><Relationship Id="rId7" Type="http://schemas.openxmlformats.org/officeDocument/2006/relationships/tags" Target="../tags/tag899.xml"/><Relationship Id="rId12" Type="http://schemas.openxmlformats.org/officeDocument/2006/relationships/image" Target="../media/image2.emf"/><Relationship Id="rId2" Type="http://schemas.openxmlformats.org/officeDocument/2006/relationships/tags" Target="../tags/tag894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898.xml"/><Relationship Id="rId11" Type="http://schemas.openxmlformats.org/officeDocument/2006/relationships/oleObject" Target="../embeddings/oleObject124.bin"/><Relationship Id="rId5" Type="http://schemas.openxmlformats.org/officeDocument/2006/relationships/tags" Target="../tags/tag897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896.xml"/><Relationship Id="rId9" Type="http://schemas.openxmlformats.org/officeDocument/2006/relationships/tags" Target="../tags/tag90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image" Target="../media/image2.emf"/><Relationship Id="rId4" Type="http://schemas.openxmlformats.org/officeDocument/2006/relationships/tags" Target="../tags/tag101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5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hyperlink" Target="http://www.osbm.nc.gov/" TargetMode="External"/><Relationship Id="rId2" Type="http://schemas.openxmlformats.org/officeDocument/2006/relationships/tags" Target="../tags/tag10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image" Target="../media/image2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4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2.xml"/><Relationship Id="rId9" Type="http://schemas.openxmlformats.org/officeDocument/2006/relationships/tags" Target="../tags/tag117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4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3.xml"/><Relationship Id="rId11" Type="http://schemas.openxmlformats.org/officeDocument/2006/relationships/image" Target="../media/image4.jpeg"/><Relationship Id="rId5" Type="http://schemas.openxmlformats.org/officeDocument/2006/relationships/tags" Target="../tags/tag142.xml"/><Relationship Id="rId10" Type="http://schemas.openxmlformats.org/officeDocument/2006/relationships/image" Target="../media/image3.png"/><Relationship Id="rId4" Type="http://schemas.openxmlformats.org/officeDocument/2006/relationships/tags" Target="../tags/tag141.xml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8.xml"/><Relationship Id="rId11" Type="http://schemas.openxmlformats.org/officeDocument/2006/relationships/image" Target="../media/image1.emf"/><Relationship Id="rId5" Type="http://schemas.openxmlformats.org/officeDocument/2006/relationships/tags" Target="../tags/tag14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2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image" Target="../media/image2.emf"/><Relationship Id="rId4" Type="http://schemas.openxmlformats.org/officeDocument/2006/relationships/tags" Target="../tags/tag159.xml"/><Relationship Id="rId9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image" Target="../media/image1.emf"/><Relationship Id="rId5" Type="http://schemas.openxmlformats.org/officeDocument/2006/relationships/tags" Target="../tags/tag30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10" Type="http://schemas.openxmlformats.org/officeDocument/2006/relationships/image" Target="../media/image2.emf"/><Relationship Id="rId4" Type="http://schemas.openxmlformats.org/officeDocument/2006/relationships/tags" Target="../tags/tag165.xml"/><Relationship Id="rId9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73.xml"/><Relationship Id="rId11" Type="http://schemas.openxmlformats.org/officeDocument/2006/relationships/image" Target="../media/image2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1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80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7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8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2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6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0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2.xml"/><Relationship Id="rId9" Type="http://schemas.openxmlformats.org/officeDocument/2006/relationships/tags" Target="../tags/tag20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2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1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10" Type="http://schemas.openxmlformats.org/officeDocument/2006/relationships/image" Target="../media/image2.emf"/><Relationship Id="rId4" Type="http://schemas.openxmlformats.org/officeDocument/2006/relationships/tags" Target="../tags/tag218.xml"/><Relationship Id="rId9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23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22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5.xml"/><Relationship Id="rId4" Type="http://schemas.openxmlformats.org/officeDocument/2006/relationships/tags" Target="../tags/tag22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31.v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2.emf"/><Relationship Id="rId4" Type="http://schemas.openxmlformats.org/officeDocument/2006/relationships/tags" Target="../tags/tag36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4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52.xml"/><Relationship Id="rId11" Type="http://schemas.openxmlformats.org/officeDocument/2006/relationships/image" Target="../media/image4.jpeg"/><Relationship Id="rId5" Type="http://schemas.openxmlformats.org/officeDocument/2006/relationships/tags" Target="../tags/tag251.xml"/><Relationship Id="rId10" Type="http://schemas.openxmlformats.org/officeDocument/2006/relationships/image" Target="../media/image3.png"/><Relationship Id="rId4" Type="http://schemas.openxmlformats.org/officeDocument/2006/relationships/tags" Target="../tags/tag250.xml"/><Relationship Id="rId9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57.xml"/><Relationship Id="rId11" Type="http://schemas.openxmlformats.org/officeDocument/2006/relationships/image" Target="../media/image1.emf"/><Relationship Id="rId5" Type="http://schemas.openxmlformats.org/officeDocument/2006/relationships/tags" Target="../tags/tag256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55.xml"/><Relationship Id="rId9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64.xml"/><Relationship Id="rId5" Type="http://schemas.openxmlformats.org/officeDocument/2006/relationships/tags" Target="../tags/tag263.xml"/><Relationship Id="rId10" Type="http://schemas.openxmlformats.org/officeDocument/2006/relationships/image" Target="../media/image2.emf"/><Relationship Id="rId4" Type="http://schemas.openxmlformats.org/officeDocument/2006/relationships/tags" Target="../tags/tag262.xml"/><Relationship Id="rId9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70.xml"/><Relationship Id="rId5" Type="http://schemas.openxmlformats.org/officeDocument/2006/relationships/tags" Target="../tags/tag269.xml"/><Relationship Id="rId10" Type="http://schemas.openxmlformats.org/officeDocument/2006/relationships/image" Target="../media/image2.emf"/><Relationship Id="rId4" Type="http://schemas.openxmlformats.org/officeDocument/2006/relationships/tags" Target="../tags/tag268.xml"/><Relationship Id="rId9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10" Type="http://schemas.openxmlformats.org/officeDocument/2006/relationships/image" Target="../media/image2.emf"/><Relationship Id="rId4" Type="http://schemas.openxmlformats.org/officeDocument/2006/relationships/tags" Target="../tags/tag274.xml"/><Relationship Id="rId9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82.xml"/><Relationship Id="rId11" Type="http://schemas.openxmlformats.org/officeDocument/2006/relationships/image" Target="../media/image2.emf"/><Relationship Id="rId5" Type="http://schemas.openxmlformats.org/officeDocument/2006/relationships/tags" Target="../tags/tag281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80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image" Target="../media/image1.emf"/><Relationship Id="rId2" Type="http://schemas.openxmlformats.org/officeDocument/2006/relationships/tags" Target="../tags/tag285.xml"/><Relationship Id="rId1" Type="http://schemas.openxmlformats.org/officeDocument/2006/relationships/vmlDrawing" Target="../drawings/vmlDrawing39.vml"/><Relationship Id="rId6" Type="http://schemas.openxmlformats.org/officeDocument/2006/relationships/tags" Target="../tags/tag289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28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87.xml"/><Relationship Id="rId9" Type="http://schemas.openxmlformats.org/officeDocument/2006/relationships/tags" Target="../tags/tag29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1.emf"/><Relationship Id="rId2" Type="http://schemas.openxmlformats.org/officeDocument/2006/relationships/tags" Target="../tags/tag293.xml"/><Relationship Id="rId1" Type="http://schemas.openxmlformats.org/officeDocument/2006/relationships/vmlDrawing" Target="../drawings/vmlDrawing40.vml"/><Relationship Id="rId6" Type="http://schemas.openxmlformats.org/officeDocument/2006/relationships/tags" Target="../tags/tag297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29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image" Target="../media/image2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05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30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03.xml"/><Relationship Id="rId9" Type="http://schemas.openxmlformats.org/officeDocument/2006/relationships/tags" Target="../tags/tag308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image" Target="../media/image1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13.xml"/><Relationship Id="rId11" Type="http://schemas.openxmlformats.org/officeDocument/2006/relationships/oleObject" Target="../embeddings/oleObject42.bin"/><Relationship Id="rId5" Type="http://schemas.openxmlformats.org/officeDocument/2006/relationships/tags" Target="../tags/tag31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11.xml"/><Relationship Id="rId9" Type="http://schemas.openxmlformats.org/officeDocument/2006/relationships/tags" Target="../tags/tag31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2.emf"/><Relationship Id="rId4" Type="http://schemas.openxmlformats.org/officeDocument/2006/relationships/tags" Target="../tags/tag42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12" Type="http://schemas.openxmlformats.org/officeDocument/2006/relationships/image" Target="../media/image2.emf"/><Relationship Id="rId2" Type="http://schemas.openxmlformats.org/officeDocument/2006/relationships/tags" Target="../tags/tag317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21.xml"/><Relationship Id="rId11" Type="http://schemas.openxmlformats.org/officeDocument/2006/relationships/oleObject" Target="../embeddings/oleObject43.bin"/><Relationship Id="rId5" Type="http://schemas.openxmlformats.org/officeDocument/2006/relationships/tags" Target="../tags/tag32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19.xml"/><Relationship Id="rId9" Type="http://schemas.openxmlformats.org/officeDocument/2006/relationships/tags" Target="../tags/tag32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10" Type="http://schemas.openxmlformats.org/officeDocument/2006/relationships/image" Target="../media/image2.emf"/><Relationship Id="rId4" Type="http://schemas.openxmlformats.org/officeDocument/2006/relationships/tags" Target="../tags/tag327.xml"/><Relationship Id="rId9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2.xml"/><Relationship Id="rId7" Type="http://schemas.openxmlformats.org/officeDocument/2006/relationships/oleObject" Target="../embeddings/oleObject45.bin"/><Relationship Id="rId2" Type="http://schemas.openxmlformats.org/officeDocument/2006/relationships/tags" Target="../tags/tag331.xml"/><Relationship Id="rId1" Type="http://schemas.openxmlformats.org/officeDocument/2006/relationships/vmlDrawing" Target="../drawings/vmlDrawing4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34.xml"/><Relationship Id="rId4" Type="http://schemas.openxmlformats.org/officeDocument/2006/relationships/tags" Target="../tags/tag33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335.xml"/><Relationship Id="rId1" Type="http://schemas.openxmlformats.org/officeDocument/2006/relationships/vmlDrawing" Target="../drawings/vmlDrawing46.v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Relationship Id="rId9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35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48.vml"/><Relationship Id="rId6" Type="http://schemas.openxmlformats.org/officeDocument/2006/relationships/tags" Target="../tags/tag360.xml"/><Relationship Id="rId11" Type="http://schemas.openxmlformats.org/officeDocument/2006/relationships/image" Target="../media/image4.jpeg"/><Relationship Id="rId5" Type="http://schemas.openxmlformats.org/officeDocument/2006/relationships/tags" Target="../tags/tag359.xml"/><Relationship Id="rId10" Type="http://schemas.openxmlformats.org/officeDocument/2006/relationships/image" Target="../media/image3.png"/><Relationship Id="rId4" Type="http://schemas.openxmlformats.org/officeDocument/2006/relationships/tags" Target="../tags/tag358.xml"/><Relationship Id="rId9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49.vml"/><Relationship Id="rId6" Type="http://schemas.openxmlformats.org/officeDocument/2006/relationships/tags" Target="../tags/tag365.xml"/><Relationship Id="rId11" Type="http://schemas.openxmlformats.org/officeDocument/2006/relationships/image" Target="../media/image1.emf"/><Relationship Id="rId5" Type="http://schemas.openxmlformats.org/officeDocument/2006/relationships/tags" Target="../tags/tag364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63.xml"/><Relationship Id="rId9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50.v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10" Type="http://schemas.openxmlformats.org/officeDocument/2006/relationships/image" Target="../media/image2.emf"/><Relationship Id="rId4" Type="http://schemas.openxmlformats.org/officeDocument/2006/relationships/tags" Target="../tags/tag370.xml"/><Relationship Id="rId9" Type="http://schemas.openxmlformats.org/officeDocument/2006/relationships/oleObject" Target="../embeddings/oleObject50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51.vml"/><Relationship Id="rId6" Type="http://schemas.openxmlformats.org/officeDocument/2006/relationships/tags" Target="../tags/tag378.xml"/><Relationship Id="rId5" Type="http://schemas.openxmlformats.org/officeDocument/2006/relationships/tags" Target="../tags/tag377.xml"/><Relationship Id="rId10" Type="http://schemas.openxmlformats.org/officeDocument/2006/relationships/image" Target="../media/image2.emf"/><Relationship Id="rId4" Type="http://schemas.openxmlformats.org/officeDocument/2006/relationships/tags" Target="../tags/tag376.xml"/><Relationship Id="rId9" Type="http://schemas.openxmlformats.org/officeDocument/2006/relationships/oleObject" Target="../embeddings/oleObject51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52.vml"/><Relationship Id="rId6" Type="http://schemas.openxmlformats.org/officeDocument/2006/relationships/tags" Target="../tags/tag384.xml"/><Relationship Id="rId5" Type="http://schemas.openxmlformats.org/officeDocument/2006/relationships/tags" Target="../tags/tag383.xml"/><Relationship Id="rId10" Type="http://schemas.openxmlformats.org/officeDocument/2006/relationships/image" Target="../media/image2.emf"/><Relationship Id="rId4" Type="http://schemas.openxmlformats.org/officeDocument/2006/relationships/tags" Target="../tags/tag382.xml"/><Relationship Id="rId9" Type="http://schemas.openxmlformats.org/officeDocument/2006/relationships/oleObject" Target="../embeddings/oleObject52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53.vml"/><Relationship Id="rId6" Type="http://schemas.openxmlformats.org/officeDocument/2006/relationships/tags" Target="../tags/tag390.xml"/><Relationship Id="rId11" Type="http://schemas.openxmlformats.org/officeDocument/2006/relationships/image" Target="../media/image2.emf"/><Relationship Id="rId5" Type="http://schemas.openxmlformats.org/officeDocument/2006/relationships/tags" Target="../tags/tag389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388.xml"/><Relationship Id="rId9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2.emf"/><Relationship Id="rId4" Type="http://schemas.openxmlformats.org/officeDocument/2006/relationships/tags" Target="../tags/tag48.xml"/><Relationship Id="rId9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12" Type="http://schemas.openxmlformats.org/officeDocument/2006/relationships/image" Target="../media/image1.emf"/><Relationship Id="rId2" Type="http://schemas.openxmlformats.org/officeDocument/2006/relationships/tags" Target="../tags/tag393.xml"/><Relationship Id="rId1" Type="http://schemas.openxmlformats.org/officeDocument/2006/relationships/vmlDrawing" Target="../drawings/vmlDrawing54.vml"/><Relationship Id="rId6" Type="http://schemas.openxmlformats.org/officeDocument/2006/relationships/tags" Target="../tags/tag397.xml"/><Relationship Id="rId11" Type="http://schemas.openxmlformats.org/officeDocument/2006/relationships/oleObject" Target="../embeddings/oleObject54.bin"/><Relationship Id="rId5" Type="http://schemas.openxmlformats.org/officeDocument/2006/relationships/tags" Target="../tags/tag39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95.xml"/><Relationship Id="rId9" Type="http://schemas.openxmlformats.org/officeDocument/2006/relationships/tags" Target="../tags/tag400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12" Type="http://schemas.openxmlformats.org/officeDocument/2006/relationships/image" Target="../media/image1.emf"/><Relationship Id="rId2" Type="http://schemas.openxmlformats.org/officeDocument/2006/relationships/tags" Target="../tags/tag401.xml"/><Relationship Id="rId1" Type="http://schemas.openxmlformats.org/officeDocument/2006/relationships/vmlDrawing" Target="../drawings/vmlDrawing55.vml"/><Relationship Id="rId6" Type="http://schemas.openxmlformats.org/officeDocument/2006/relationships/tags" Target="../tags/tag405.xml"/><Relationship Id="rId11" Type="http://schemas.openxmlformats.org/officeDocument/2006/relationships/oleObject" Target="../embeddings/oleObject55.bin"/><Relationship Id="rId5" Type="http://schemas.openxmlformats.org/officeDocument/2006/relationships/tags" Target="../tags/tag40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03.xml"/><Relationship Id="rId9" Type="http://schemas.openxmlformats.org/officeDocument/2006/relationships/tags" Target="../tags/tag408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12" Type="http://schemas.openxmlformats.org/officeDocument/2006/relationships/image" Target="../media/image1.emf"/><Relationship Id="rId2" Type="http://schemas.openxmlformats.org/officeDocument/2006/relationships/tags" Target="../tags/tag409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13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41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11.xml"/><Relationship Id="rId9" Type="http://schemas.openxmlformats.org/officeDocument/2006/relationships/tags" Target="../tags/tag416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423.xml"/><Relationship Id="rId3" Type="http://schemas.openxmlformats.org/officeDocument/2006/relationships/tags" Target="../tags/tag418.xml"/><Relationship Id="rId7" Type="http://schemas.openxmlformats.org/officeDocument/2006/relationships/tags" Target="../tags/tag422.xml"/><Relationship Id="rId12" Type="http://schemas.openxmlformats.org/officeDocument/2006/relationships/image" Target="../media/image5.emf"/><Relationship Id="rId2" Type="http://schemas.openxmlformats.org/officeDocument/2006/relationships/tags" Target="../tags/tag417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21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420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19.xml"/><Relationship Id="rId9" Type="http://schemas.openxmlformats.org/officeDocument/2006/relationships/tags" Target="../tags/tag42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12" Type="http://schemas.openxmlformats.org/officeDocument/2006/relationships/image" Target="../media/image1.emf"/><Relationship Id="rId2" Type="http://schemas.openxmlformats.org/officeDocument/2006/relationships/tags" Target="../tags/tag425.xml"/><Relationship Id="rId1" Type="http://schemas.openxmlformats.org/officeDocument/2006/relationships/vmlDrawing" Target="../drawings/vmlDrawing58.vml"/><Relationship Id="rId6" Type="http://schemas.openxmlformats.org/officeDocument/2006/relationships/tags" Target="../tags/tag429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428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27.xml"/><Relationship Id="rId9" Type="http://schemas.openxmlformats.org/officeDocument/2006/relationships/tags" Target="../tags/tag43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59.v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10" Type="http://schemas.openxmlformats.org/officeDocument/2006/relationships/image" Target="../media/image2.emf"/><Relationship Id="rId4" Type="http://schemas.openxmlformats.org/officeDocument/2006/relationships/tags" Target="../tags/tag435.xml"/><Relationship Id="rId9" Type="http://schemas.openxmlformats.org/officeDocument/2006/relationships/oleObject" Target="../embeddings/oleObject59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0.xml"/><Relationship Id="rId7" Type="http://schemas.openxmlformats.org/officeDocument/2006/relationships/oleObject" Target="../embeddings/oleObject60.bin"/><Relationship Id="rId2" Type="http://schemas.openxmlformats.org/officeDocument/2006/relationships/tags" Target="../tags/tag439.xml"/><Relationship Id="rId1" Type="http://schemas.openxmlformats.org/officeDocument/2006/relationships/vmlDrawing" Target="../drawings/vmlDrawing6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42.xml"/><Relationship Id="rId4" Type="http://schemas.openxmlformats.org/officeDocument/2006/relationships/tags" Target="../tags/tag44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hyperlink" Target="http://www.osbm.nc.gov/" TargetMode="External"/><Relationship Id="rId2" Type="http://schemas.openxmlformats.org/officeDocument/2006/relationships/tags" Target="../tags/tag44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Relationship Id="rId9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12" Type="http://schemas.openxmlformats.org/officeDocument/2006/relationships/image" Target="../media/image2.emf"/><Relationship Id="rId2" Type="http://schemas.openxmlformats.org/officeDocument/2006/relationships/tags" Target="../tags/tag444.xml"/><Relationship Id="rId1" Type="http://schemas.openxmlformats.org/officeDocument/2006/relationships/vmlDrawing" Target="../drawings/vmlDrawing62.vml"/><Relationship Id="rId6" Type="http://schemas.openxmlformats.org/officeDocument/2006/relationships/tags" Target="../tags/tag448.xml"/><Relationship Id="rId11" Type="http://schemas.openxmlformats.org/officeDocument/2006/relationships/oleObject" Target="../embeddings/oleObject62.bin"/><Relationship Id="rId5" Type="http://schemas.openxmlformats.org/officeDocument/2006/relationships/tags" Target="../tags/tag44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46.xml"/><Relationship Id="rId9" Type="http://schemas.openxmlformats.org/officeDocument/2006/relationships/tags" Target="../tags/tag45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3" Type="http://schemas.openxmlformats.org/officeDocument/2006/relationships/tags" Target="../tags/tag47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72.xml"/><Relationship Id="rId1" Type="http://schemas.openxmlformats.org/officeDocument/2006/relationships/vmlDrawing" Target="../drawings/vmlDrawing64.vml"/><Relationship Id="rId6" Type="http://schemas.openxmlformats.org/officeDocument/2006/relationships/tags" Target="../tags/tag476.xml"/><Relationship Id="rId11" Type="http://schemas.openxmlformats.org/officeDocument/2006/relationships/image" Target="../media/image4.jpeg"/><Relationship Id="rId5" Type="http://schemas.openxmlformats.org/officeDocument/2006/relationships/tags" Target="../tags/tag475.xml"/><Relationship Id="rId10" Type="http://schemas.openxmlformats.org/officeDocument/2006/relationships/image" Target="../media/image3.png"/><Relationship Id="rId4" Type="http://schemas.openxmlformats.org/officeDocument/2006/relationships/tags" Target="../tags/tag474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7.vml"/><Relationship Id="rId6" Type="http://schemas.openxmlformats.org/officeDocument/2006/relationships/tags" Target="../tags/tag56.xml"/><Relationship Id="rId11" Type="http://schemas.openxmlformats.org/officeDocument/2006/relationships/image" Target="../media/image2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483.xml"/><Relationship Id="rId3" Type="http://schemas.openxmlformats.org/officeDocument/2006/relationships/tags" Target="../tags/tag478.xml"/><Relationship Id="rId7" Type="http://schemas.openxmlformats.org/officeDocument/2006/relationships/tags" Target="../tags/tag482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65.vml"/><Relationship Id="rId6" Type="http://schemas.openxmlformats.org/officeDocument/2006/relationships/tags" Target="../tags/tag481.xml"/><Relationship Id="rId11" Type="http://schemas.openxmlformats.org/officeDocument/2006/relationships/image" Target="../media/image1.emf"/><Relationship Id="rId5" Type="http://schemas.openxmlformats.org/officeDocument/2006/relationships/tags" Target="../tags/tag480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479.xml"/><Relationship Id="rId9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85.xml"/><Relationship Id="rId7" Type="http://schemas.openxmlformats.org/officeDocument/2006/relationships/tags" Target="../tags/tag489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66.vml"/><Relationship Id="rId6" Type="http://schemas.openxmlformats.org/officeDocument/2006/relationships/tags" Target="../tags/tag488.xml"/><Relationship Id="rId5" Type="http://schemas.openxmlformats.org/officeDocument/2006/relationships/tags" Target="../tags/tag487.xml"/><Relationship Id="rId10" Type="http://schemas.openxmlformats.org/officeDocument/2006/relationships/image" Target="../media/image2.emf"/><Relationship Id="rId4" Type="http://schemas.openxmlformats.org/officeDocument/2006/relationships/tags" Target="../tags/tag486.xml"/><Relationship Id="rId9" Type="http://schemas.openxmlformats.org/officeDocument/2006/relationships/oleObject" Target="../embeddings/oleObject66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91.xml"/><Relationship Id="rId7" Type="http://schemas.openxmlformats.org/officeDocument/2006/relationships/tags" Target="../tags/tag495.xml"/><Relationship Id="rId2" Type="http://schemas.openxmlformats.org/officeDocument/2006/relationships/tags" Target="../tags/tag490.xml"/><Relationship Id="rId1" Type="http://schemas.openxmlformats.org/officeDocument/2006/relationships/vmlDrawing" Target="../drawings/vmlDrawing67.vml"/><Relationship Id="rId6" Type="http://schemas.openxmlformats.org/officeDocument/2006/relationships/tags" Target="../tags/tag494.xml"/><Relationship Id="rId5" Type="http://schemas.openxmlformats.org/officeDocument/2006/relationships/tags" Target="../tags/tag493.xml"/><Relationship Id="rId10" Type="http://schemas.openxmlformats.org/officeDocument/2006/relationships/image" Target="../media/image2.emf"/><Relationship Id="rId4" Type="http://schemas.openxmlformats.org/officeDocument/2006/relationships/tags" Target="../tags/tag492.xml"/><Relationship Id="rId9" Type="http://schemas.openxmlformats.org/officeDocument/2006/relationships/oleObject" Target="../embeddings/oleObject67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2" Type="http://schemas.openxmlformats.org/officeDocument/2006/relationships/tags" Target="../tags/tag496.xml"/><Relationship Id="rId1" Type="http://schemas.openxmlformats.org/officeDocument/2006/relationships/vmlDrawing" Target="../drawings/vmlDrawing68.vml"/><Relationship Id="rId6" Type="http://schemas.openxmlformats.org/officeDocument/2006/relationships/tags" Target="../tags/tag500.xml"/><Relationship Id="rId5" Type="http://schemas.openxmlformats.org/officeDocument/2006/relationships/tags" Target="../tags/tag499.xml"/><Relationship Id="rId10" Type="http://schemas.openxmlformats.org/officeDocument/2006/relationships/image" Target="../media/image2.emf"/><Relationship Id="rId4" Type="http://schemas.openxmlformats.org/officeDocument/2006/relationships/tags" Target="../tags/tag498.xml"/><Relationship Id="rId9" Type="http://schemas.openxmlformats.org/officeDocument/2006/relationships/oleObject" Target="../embeddings/oleObject68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69.vml"/><Relationship Id="rId6" Type="http://schemas.openxmlformats.org/officeDocument/2006/relationships/tags" Target="../tags/tag506.xml"/><Relationship Id="rId11" Type="http://schemas.openxmlformats.org/officeDocument/2006/relationships/image" Target="../media/image2.emf"/><Relationship Id="rId5" Type="http://schemas.openxmlformats.org/officeDocument/2006/relationships/tags" Target="../tags/tag505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15.xml"/><Relationship Id="rId3" Type="http://schemas.openxmlformats.org/officeDocument/2006/relationships/tags" Target="../tags/tag510.xml"/><Relationship Id="rId7" Type="http://schemas.openxmlformats.org/officeDocument/2006/relationships/tags" Target="../tags/tag514.xml"/><Relationship Id="rId12" Type="http://schemas.openxmlformats.org/officeDocument/2006/relationships/image" Target="../media/image1.emf"/><Relationship Id="rId2" Type="http://schemas.openxmlformats.org/officeDocument/2006/relationships/tags" Target="../tags/tag509.xml"/><Relationship Id="rId1" Type="http://schemas.openxmlformats.org/officeDocument/2006/relationships/vmlDrawing" Target="../drawings/vmlDrawing70.vml"/><Relationship Id="rId6" Type="http://schemas.openxmlformats.org/officeDocument/2006/relationships/tags" Target="../tags/tag513.xml"/><Relationship Id="rId11" Type="http://schemas.openxmlformats.org/officeDocument/2006/relationships/oleObject" Target="../embeddings/oleObject70.bin"/><Relationship Id="rId5" Type="http://schemas.openxmlformats.org/officeDocument/2006/relationships/tags" Target="../tags/tag512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11.xml"/><Relationship Id="rId9" Type="http://schemas.openxmlformats.org/officeDocument/2006/relationships/tags" Target="../tags/tag516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1.emf"/><Relationship Id="rId2" Type="http://schemas.openxmlformats.org/officeDocument/2006/relationships/tags" Target="../tags/tag517.xml"/><Relationship Id="rId1" Type="http://schemas.openxmlformats.org/officeDocument/2006/relationships/vmlDrawing" Target="../drawings/vmlDrawing71.vml"/><Relationship Id="rId6" Type="http://schemas.openxmlformats.org/officeDocument/2006/relationships/tags" Target="../tags/tag521.xml"/><Relationship Id="rId11" Type="http://schemas.openxmlformats.org/officeDocument/2006/relationships/oleObject" Target="../embeddings/oleObject71.bin"/><Relationship Id="rId5" Type="http://schemas.openxmlformats.org/officeDocument/2006/relationships/tags" Target="../tags/tag52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19.xml"/><Relationship Id="rId9" Type="http://schemas.openxmlformats.org/officeDocument/2006/relationships/tags" Target="../tags/tag52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531.xml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12" Type="http://schemas.openxmlformats.org/officeDocument/2006/relationships/image" Target="../media/image1.emf"/><Relationship Id="rId2" Type="http://schemas.openxmlformats.org/officeDocument/2006/relationships/tags" Target="../tags/tag525.xml"/><Relationship Id="rId1" Type="http://schemas.openxmlformats.org/officeDocument/2006/relationships/vmlDrawing" Target="../drawings/vmlDrawing72.vml"/><Relationship Id="rId6" Type="http://schemas.openxmlformats.org/officeDocument/2006/relationships/tags" Target="../tags/tag529.xml"/><Relationship Id="rId11" Type="http://schemas.openxmlformats.org/officeDocument/2006/relationships/oleObject" Target="../embeddings/oleObject72.bin"/><Relationship Id="rId5" Type="http://schemas.openxmlformats.org/officeDocument/2006/relationships/tags" Target="../tags/tag52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27.xml"/><Relationship Id="rId9" Type="http://schemas.openxmlformats.org/officeDocument/2006/relationships/tags" Target="../tags/tag53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539.xml"/><Relationship Id="rId3" Type="http://schemas.openxmlformats.org/officeDocument/2006/relationships/tags" Target="../tags/tag534.xml"/><Relationship Id="rId7" Type="http://schemas.openxmlformats.org/officeDocument/2006/relationships/tags" Target="../tags/tag538.xml"/><Relationship Id="rId12" Type="http://schemas.openxmlformats.org/officeDocument/2006/relationships/image" Target="../media/image5.emf"/><Relationship Id="rId2" Type="http://schemas.openxmlformats.org/officeDocument/2006/relationships/tags" Target="../tags/tag533.xml"/><Relationship Id="rId1" Type="http://schemas.openxmlformats.org/officeDocument/2006/relationships/vmlDrawing" Target="../drawings/vmlDrawing73.vml"/><Relationship Id="rId6" Type="http://schemas.openxmlformats.org/officeDocument/2006/relationships/tags" Target="../tags/tag537.xml"/><Relationship Id="rId11" Type="http://schemas.openxmlformats.org/officeDocument/2006/relationships/oleObject" Target="../embeddings/oleObject73.bin"/><Relationship Id="rId5" Type="http://schemas.openxmlformats.org/officeDocument/2006/relationships/tags" Target="../tags/tag536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35.xml"/><Relationship Id="rId9" Type="http://schemas.openxmlformats.org/officeDocument/2006/relationships/tags" Target="../tags/tag540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547.xml"/><Relationship Id="rId3" Type="http://schemas.openxmlformats.org/officeDocument/2006/relationships/tags" Target="../tags/tag542.xml"/><Relationship Id="rId7" Type="http://schemas.openxmlformats.org/officeDocument/2006/relationships/tags" Target="../tags/tag546.xml"/><Relationship Id="rId12" Type="http://schemas.openxmlformats.org/officeDocument/2006/relationships/image" Target="../media/image1.emf"/><Relationship Id="rId2" Type="http://schemas.openxmlformats.org/officeDocument/2006/relationships/tags" Target="../tags/tag541.xml"/><Relationship Id="rId1" Type="http://schemas.openxmlformats.org/officeDocument/2006/relationships/vmlDrawing" Target="../drawings/vmlDrawing74.vml"/><Relationship Id="rId6" Type="http://schemas.openxmlformats.org/officeDocument/2006/relationships/tags" Target="../tags/tag545.xml"/><Relationship Id="rId11" Type="http://schemas.openxmlformats.org/officeDocument/2006/relationships/oleObject" Target="../embeddings/oleObject74.bin"/><Relationship Id="rId5" Type="http://schemas.openxmlformats.org/officeDocument/2006/relationships/tags" Target="../tags/tag544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43.xml"/><Relationship Id="rId9" Type="http://schemas.openxmlformats.org/officeDocument/2006/relationships/tags" Target="../tags/tag548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2" Type="http://schemas.openxmlformats.org/officeDocument/2006/relationships/tags" Target="../tags/tag549.xml"/><Relationship Id="rId1" Type="http://schemas.openxmlformats.org/officeDocument/2006/relationships/vmlDrawing" Target="../drawings/vmlDrawing75.v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10" Type="http://schemas.openxmlformats.org/officeDocument/2006/relationships/image" Target="../media/image2.emf"/><Relationship Id="rId4" Type="http://schemas.openxmlformats.org/officeDocument/2006/relationships/tags" Target="../tags/tag551.xml"/><Relationship Id="rId9" Type="http://schemas.openxmlformats.org/officeDocument/2006/relationships/oleObject" Target="../embeddings/oleObject75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6.xml"/><Relationship Id="rId7" Type="http://schemas.openxmlformats.org/officeDocument/2006/relationships/oleObject" Target="../embeddings/oleObject76.bin"/><Relationship Id="rId2" Type="http://schemas.openxmlformats.org/officeDocument/2006/relationships/tags" Target="../tags/tag555.xml"/><Relationship Id="rId1" Type="http://schemas.openxmlformats.org/officeDocument/2006/relationships/vmlDrawing" Target="../drawings/vmlDrawing76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8.xml"/><Relationship Id="rId4" Type="http://schemas.openxmlformats.org/officeDocument/2006/relationships/tags" Target="../tags/tag557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hyperlink" Target="http://www.osbm.nc.gov/" TargetMode="External"/><Relationship Id="rId2" Type="http://schemas.openxmlformats.org/officeDocument/2006/relationships/tags" Target="../tags/tag55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7.bin"/><Relationship Id="rId9" Type="http://schemas.openxmlformats.org/officeDocument/2006/relationships/image" Target="../media/image8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image" Target="../media/image2.emf"/><Relationship Id="rId2" Type="http://schemas.openxmlformats.org/officeDocument/2006/relationships/tags" Target="../tags/tag560.xml"/><Relationship Id="rId1" Type="http://schemas.openxmlformats.org/officeDocument/2006/relationships/vmlDrawing" Target="../drawings/vmlDrawing78.vml"/><Relationship Id="rId6" Type="http://schemas.openxmlformats.org/officeDocument/2006/relationships/tags" Target="../tags/tag564.xml"/><Relationship Id="rId11" Type="http://schemas.openxmlformats.org/officeDocument/2006/relationships/oleObject" Target="../embeddings/oleObject78.bin"/><Relationship Id="rId5" Type="http://schemas.openxmlformats.org/officeDocument/2006/relationships/tags" Target="../tags/tag563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62.xml"/><Relationship Id="rId9" Type="http://schemas.openxmlformats.org/officeDocument/2006/relationships/tags" Target="../tags/tag567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59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589.xml"/><Relationship Id="rId1" Type="http://schemas.openxmlformats.org/officeDocument/2006/relationships/vmlDrawing" Target="../drawings/vmlDrawing80.vml"/><Relationship Id="rId6" Type="http://schemas.openxmlformats.org/officeDocument/2006/relationships/tags" Target="../tags/tag593.xml"/><Relationship Id="rId11" Type="http://schemas.openxmlformats.org/officeDocument/2006/relationships/image" Target="../media/image4.jpeg"/><Relationship Id="rId5" Type="http://schemas.openxmlformats.org/officeDocument/2006/relationships/tags" Target="../tags/tag592.xml"/><Relationship Id="rId10" Type="http://schemas.openxmlformats.org/officeDocument/2006/relationships/image" Target="../media/image3.png"/><Relationship Id="rId4" Type="http://schemas.openxmlformats.org/officeDocument/2006/relationships/tags" Target="../tags/tag591.xml"/><Relationship Id="rId9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600.xml"/><Relationship Id="rId3" Type="http://schemas.openxmlformats.org/officeDocument/2006/relationships/tags" Target="../tags/tag595.xml"/><Relationship Id="rId7" Type="http://schemas.openxmlformats.org/officeDocument/2006/relationships/tags" Target="../tags/tag599.xml"/><Relationship Id="rId2" Type="http://schemas.openxmlformats.org/officeDocument/2006/relationships/tags" Target="../tags/tag594.xml"/><Relationship Id="rId1" Type="http://schemas.openxmlformats.org/officeDocument/2006/relationships/vmlDrawing" Target="../drawings/vmlDrawing81.vml"/><Relationship Id="rId6" Type="http://schemas.openxmlformats.org/officeDocument/2006/relationships/tags" Target="../tags/tag598.xml"/><Relationship Id="rId11" Type="http://schemas.openxmlformats.org/officeDocument/2006/relationships/image" Target="../media/image1.emf"/><Relationship Id="rId5" Type="http://schemas.openxmlformats.org/officeDocument/2006/relationships/tags" Target="../tags/tag597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596.xml"/><Relationship Id="rId9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02.xml"/><Relationship Id="rId7" Type="http://schemas.openxmlformats.org/officeDocument/2006/relationships/tags" Target="../tags/tag606.xml"/><Relationship Id="rId2" Type="http://schemas.openxmlformats.org/officeDocument/2006/relationships/tags" Target="../tags/tag601.xml"/><Relationship Id="rId1" Type="http://schemas.openxmlformats.org/officeDocument/2006/relationships/vmlDrawing" Target="../drawings/vmlDrawing82.vml"/><Relationship Id="rId6" Type="http://schemas.openxmlformats.org/officeDocument/2006/relationships/tags" Target="../tags/tag605.xml"/><Relationship Id="rId5" Type="http://schemas.openxmlformats.org/officeDocument/2006/relationships/tags" Target="../tags/tag604.xml"/><Relationship Id="rId10" Type="http://schemas.openxmlformats.org/officeDocument/2006/relationships/image" Target="../media/image2.emf"/><Relationship Id="rId4" Type="http://schemas.openxmlformats.org/officeDocument/2006/relationships/tags" Target="../tags/tag603.xml"/><Relationship Id="rId9" Type="http://schemas.openxmlformats.org/officeDocument/2006/relationships/oleObject" Target="../embeddings/oleObject82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08.xml"/><Relationship Id="rId7" Type="http://schemas.openxmlformats.org/officeDocument/2006/relationships/tags" Target="../tags/tag612.xml"/><Relationship Id="rId2" Type="http://schemas.openxmlformats.org/officeDocument/2006/relationships/tags" Target="../tags/tag607.xml"/><Relationship Id="rId1" Type="http://schemas.openxmlformats.org/officeDocument/2006/relationships/vmlDrawing" Target="../drawings/vmlDrawing83.vml"/><Relationship Id="rId6" Type="http://schemas.openxmlformats.org/officeDocument/2006/relationships/tags" Target="../tags/tag611.xml"/><Relationship Id="rId5" Type="http://schemas.openxmlformats.org/officeDocument/2006/relationships/tags" Target="../tags/tag610.xml"/><Relationship Id="rId10" Type="http://schemas.openxmlformats.org/officeDocument/2006/relationships/image" Target="../media/image2.emf"/><Relationship Id="rId4" Type="http://schemas.openxmlformats.org/officeDocument/2006/relationships/tags" Target="../tags/tag609.xml"/><Relationship Id="rId9" Type="http://schemas.openxmlformats.org/officeDocument/2006/relationships/oleObject" Target="../embeddings/oleObject83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14.xml"/><Relationship Id="rId7" Type="http://schemas.openxmlformats.org/officeDocument/2006/relationships/tags" Target="../tags/tag618.xml"/><Relationship Id="rId2" Type="http://schemas.openxmlformats.org/officeDocument/2006/relationships/tags" Target="../tags/tag613.xml"/><Relationship Id="rId1" Type="http://schemas.openxmlformats.org/officeDocument/2006/relationships/vmlDrawing" Target="../drawings/vmlDrawing84.vml"/><Relationship Id="rId6" Type="http://schemas.openxmlformats.org/officeDocument/2006/relationships/tags" Target="../tags/tag617.xml"/><Relationship Id="rId5" Type="http://schemas.openxmlformats.org/officeDocument/2006/relationships/tags" Target="../tags/tag616.xml"/><Relationship Id="rId10" Type="http://schemas.openxmlformats.org/officeDocument/2006/relationships/image" Target="../media/image2.emf"/><Relationship Id="rId4" Type="http://schemas.openxmlformats.org/officeDocument/2006/relationships/tags" Target="../tags/tag615.xml"/><Relationship Id="rId9" Type="http://schemas.openxmlformats.org/officeDocument/2006/relationships/oleObject" Target="../embeddings/oleObject84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625.xml"/><Relationship Id="rId3" Type="http://schemas.openxmlformats.org/officeDocument/2006/relationships/tags" Target="../tags/tag620.xml"/><Relationship Id="rId7" Type="http://schemas.openxmlformats.org/officeDocument/2006/relationships/tags" Target="../tags/tag624.xml"/><Relationship Id="rId2" Type="http://schemas.openxmlformats.org/officeDocument/2006/relationships/tags" Target="../tags/tag619.xml"/><Relationship Id="rId1" Type="http://schemas.openxmlformats.org/officeDocument/2006/relationships/vmlDrawing" Target="../drawings/vmlDrawing85.vml"/><Relationship Id="rId6" Type="http://schemas.openxmlformats.org/officeDocument/2006/relationships/tags" Target="../tags/tag623.xml"/><Relationship Id="rId11" Type="http://schemas.openxmlformats.org/officeDocument/2006/relationships/image" Target="../media/image2.emf"/><Relationship Id="rId5" Type="http://schemas.openxmlformats.org/officeDocument/2006/relationships/tags" Target="../tags/tag622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621.xml"/><Relationship Id="rId9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9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32.xml"/><Relationship Id="rId3" Type="http://schemas.openxmlformats.org/officeDocument/2006/relationships/tags" Target="../tags/tag627.xml"/><Relationship Id="rId7" Type="http://schemas.openxmlformats.org/officeDocument/2006/relationships/tags" Target="../tags/tag631.xml"/><Relationship Id="rId12" Type="http://schemas.openxmlformats.org/officeDocument/2006/relationships/image" Target="../media/image1.emf"/><Relationship Id="rId2" Type="http://schemas.openxmlformats.org/officeDocument/2006/relationships/tags" Target="../tags/tag626.xml"/><Relationship Id="rId1" Type="http://schemas.openxmlformats.org/officeDocument/2006/relationships/vmlDrawing" Target="../drawings/vmlDrawing86.vml"/><Relationship Id="rId6" Type="http://schemas.openxmlformats.org/officeDocument/2006/relationships/tags" Target="../tags/tag630.xml"/><Relationship Id="rId11" Type="http://schemas.openxmlformats.org/officeDocument/2006/relationships/oleObject" Target="../embeddings/oleObject86.bin"/><Relationship Id="rId5" Type="http://schemas.openxmlformats.org/officeDocument/2006/relationships/tags" Target="../tags/tag629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28.xml"/><Relationship Id="rId9" Type="http://schemas.openxmlformats.org/officeDocument/2006/relationships/tags" Target="../tags/tag63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40.xml"/><Relationship Id="rId3" Type="http://schemas.openxmlformats.org/officeDocument/2006/relationships/tags" Target="../tags/tag635.xml"/><Relationship Id="rId7" Type="http://schemas.openxmlformats.org/officeDocument/2006/relationships/tags" Target="../tags/tag639.xml"/><Relationship Id="rId12" Type="http://schemas.openxmlformats.org/officeDocument/2006/relationships/image" Target="../media/image1.emf"/><Relationship Id="rId2" Type="http://schemas.openxmlformats.org/officeDocument/2006/relationships/tags" Target="../tags/tag634.xml"/><Relationship Id="rId1" Type="http://schemas.openxmlformats.org/officeDocument/2006/relationships/vmlDrawing" Target="../drawings/vmlDrawing87.vml"/><Relationship Id="rId6" Type="http://schemas.openxmlformats.org/officeDocument/2006/relationships/tags" Target="../tags/tag638.xml"/><Relationship Id="rId11" Type="http://schemas.openxmlformats.org/officeDocument/2006/relationships/oleObject" Target="../embeddings/oleObject87.bin"/><Relationship Id="rId5" Type="http://schemas.openxmlformats.org/officeDocument/2006/relationships/tags" Target="../tags/tag637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36.xml"/><Relationship Id="rId9" Type="http://schemas.openxmlformats.org/officeDocument/2006/relationships/tags" Target="../tags/tag641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648.xml"/><Relationship Id="rId3" Type="http://schemas.openxmlformats.org/officeDocument/2006/relationships/tags" Target="../tags/tag643.xml"/><Relationship Id="rId7" Type="http://schemas.openxmlformats.org/officeDocument/2006/relationships/tags" Target="../tags/tag647.xml"/><Relationship Id="rId12" Type="http://schemas.openxmlformats.org/officeDocument/2006/relationships/image" Target="../media/image2.emf"/><Relationship Id="rId2" Type="http://schemas.openxmlformats.org/officeDocument/2006/relationships/tags" Target="../tags/tag642.xml"/><Relationship Id="rId1" Type="http://schemas.openxmlformats.org/officeDocument/2006/relationships/vmlDrawing" Target="../drawings/vmlDrawing88.vml"/><Relationship Id="rId6" Type="http://schemas.openxmlformats.org/officeDocument/2006/relationships/tags" Target="../tags/tag646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645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44.xml"/><Relationship Id="rId9" Type="http://schemas.openxmlformats.org/officeDocument/2006/relationships/tags" Target="../tags/tag64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656.xml"/><Relationship Id="rId3" Type="http://schemas.openxmlformats.org/officeDocument/2006/relationships/tags" Target="../tags/tag651.xml"/><Relationship Id="rId7" Type="http://schemas.openxmlformats.org/officeDocument/2006/relationships/tags" Target="../tags/tag655.xml"/><Relationship Id="rId12" Type="http://schemas.openxmlformats.org/officeDocument/2006/relationships/image" Target="../media/image1.emf"/><Relationship Id="rId2" Type="http://schemas.openxmlformats.org/officeDocument/2006/relationships/tags" Target="../tags/tag650.xml"/><Relationship Id="rId1" Type="http://schemas.openxmlformats.org/officeDocument/2006/relationships/vmlDrawing" Target="../drawings/vmlDrawing89.vml"/><Relationship Id="rId6" Type="http://schemas.openxmlformats.org/officeDocument/2006/relationships/tags" Target="../tags/tag654.xml"/><Relationship Id="rId11" Type="http://schemas.openxmlformats.org/officeDocument/2006/relationships/oleObject" Target="../embeddings/oleObject89.bin"/><Relationship Id="rId5" Type="http://schemas.openxmlformats.org/officeDocument/2006/relationships/tags" Target="../tags/tag65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52.xml"/><Relationship Id="rId9" Type="http://schemas.openxmlformats.org/officeDocument/2006/relationships/tags" Target="../tags/tag65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3" Type="http://schemas.openxmlformats.org/officeDocument/2006/relationships/tags" Target="../tags/tag659.xml"/><Relationship Id="rId7" Type="http://schemas.openxmlformats.org/officeDocument/2006/relationships/tags" Target="../tags/tag663.xml"/><Relationship Id="rId12" Type="http://schemas.openxmlformats.org/officeDocument/2006/relationships/image" Target="../media/image2.emf"/><Relationship Id="rId2" Type="http://schemas.openxmlformats.org/officeDocument/2006/relationships/tags" Target="../tags/tag658.xml"/><Relationship Id="rId1" Type="http://schemas.openxmlformats.org/officeDocument/2006/relationships/vmlDrawing" Target="../drawings/vmlDrawing90.vml"/><Relationship Id="rId6" Type="http://schemas.openxmlformats.org/officeDocument/2006/relationships/tags" Target="../tags/tag662.xml"/><Relationship Id="rId11" Type="http://schemas.openxmlformats.org/officeDocument/2006/relationships/oleObject" Target="../embeddings/oleObject90.bin"/><Relationship Id="rId5" Type="http://schemas.openxmlformats.org/officeDocument/2006/relationships/tags" Target="../tags/tag661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60.xml"/><Relationship Id="rId9" Type="http://schemas.openxmlformats.org/officeDocument/2006/relationships/tags" Target="../tags/tag665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vmlDrawing" Target="../drawings/vmlDrawing91.vml"/><Relationship Id="rId6" Type="http://schemas.openxmlformats.org/officeDocument/2006/relationships/tags" Target="../tags/tag670.xml"/><Relationship Id="rId5" Type="http://schemas.openxmlformats.org/officeDocument/2006/relationships/tags" Target="../tags/tag669.xml"/><Relationship Id="rId10" Type="http://schemas.openxmlformats.org/officeDocument/2006/relationships/image" Target="../media/image2.emf"/><Relationship Id="rId4" Type="http://schemas.openxmlformats.org/officeDocument/2006/relationships/tags" Target="../tags/tag668.xml"/><Relationship Id="rId9" Type="http://schemas.openxmlformats.org/officeDocument/2006/relationships/oleObject" Target="../embeddings/oleObject91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73.xml"/><Relationship Id="rId7" Type="http://schemas.openxmlformats.org/officeDocument/2006/relationships/oleObject" Target="../embeddings/oleObject92.bin"/><Relationship Id="rId2" Type="http://schemas.openxmlformats.org/officeDocument/2006/relationships/tags" Target="../tags/tag672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75.xml"/><Relationship Id="rId4" Type="http://schemas.openxmlformats.org/officeDocument/2006/relationships/tags" Target="../tags/tag674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676.xml"/><Relationship Id="rId1" Type="http://schemas.openxmlformats.org/officeDocument/2006/relationships/vmlDrawing" Target="../drawings/vmlDrawing93.vml"/><Relationship Id="rId6" Type="http://schemas.openxmlformats.org/officeDocument/2006/relationships/hyperlink" Target="http://www.osbm.nc.gov/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Relationship Id="rId9" Type="http://schemas.openxmlformats.org/officeDocument/2006/relationships/image" Target="../media/image8.pn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69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698.xml"/><Relationship Id="rId1" Type="http://schemas.openxmlformats.org/officeDocument/2006/relationships/vmlDrawing" Target="../drawings/vmlDrawing95.vml"/><Relationship Id="rId6" Type="http://schemas.openxmlformats.org/officeDocument/2006/relationships/tags" Target="../tags/tag702.xml"/><Relationship Id="rId11" Type="http://schemas.openxmlformats.org/officeDocument/2006/relationships/image" Target="../media/image4.jpeg"/><Relationship Id="rId5" Type="http://schemas.openxmlformats.org/officeDocument/2006/relationships/tags" Target="../tags/tag701.xml"/><Relationship Id="rId10" Type="http://schemas.openxmlformats.org/officeDocument/2006/relationships/image" Target="../media/image3.png"/><Relationship Id="rId4" Type="http://schemas.openxmlformats.org/officeDocument/2006/relationships/tags" Target="../tags/tag700.xml"/><Relationship Id="rId9" Type="http://schemas.openxmlformats.org/officeDocument/2006/relationships/image" Target="../media/image2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09.xml"/><Relationship Id="rId3" Type="http://schemas.openxmlformats.org/officeDocument/2006/relationships/tags" Target="../tags/tag704.xml"/><Relationship Id="rId7" Type="http://schemas.openxmlformats.org/officeDocument/2006/relationships/tags" Target="../tags/tag708.xml"/><Relationship Id="rId2" Type="http://schemas.openxmlformats.org/officeDocument/2006/relationships/tags" Target="../tags/tag703.xml"/><Relationship Id="rId1" Type="http://schemas.openxmlformats.org/officeDocument/2006/relationships/vmlDrawing" Target="../drawings/vmlDrawing96.vml"/><Relationship Id="rId6" Type="http://schemas.openxmlformats.org/officeDocument/2006/relationships/tags" Target="../tags/tag707.xml"/><Relationship Id="rId11" Type="http://schemas.openxmlformats.org/officeDocument/2006/relationships/image" Target="../media/image1.emf"/><Relationship Id="rId5" Type="http://schemas.openxmlformats.org/officeDocument/2006/relationships/tags" Target="../tags/tag706.xml"/><Relationship Id="rId10" Type="http://schemas.openxmlformats.org/officeDocument/2006/relationships/oleObject" Target="../embeddings/oleObject96.bin"/><Relationship Id="rId4" Type="http://schemas.openxmlformats.org/officeDocument/2006/relationships/tags" Target="../tags/tag705.xml"/><Relationship Id="rId9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11.xml"/><Relationship Id="rId7" Type="http://schemas.openxmlformats.org/officeDocument/2006/relationships/tags" Target="../tags/tag715.xml"/><Relationship Id="rId2" Type="http://schemas.openxmlformats.org/officeDocument/2006/relationships/tags" Target="../tags/tag710.xml"/><Relationship Id="rId1" Type="http://schemas.openxmlformats.org/officeDocument/2006/relationships/vmlDrawing" Target="../drawings/vmlDrawing97.vml"/><Relationship Id="rId6" Type="http://schemas.openxmlformats.org/officeDocument/2006/relationships/tags" Target="../tags/tag714.xml"/><Relationship Id="rId5" Type="http://schemas.openxmlformats.org/officeDocument/2006/relationships/tags" Target="../tags/tag713.xml"/><Relationship Id="rId10" Type="http://schemas.openxmlformats.org/officeDocument/2006/relationships/image" Target="../media/image2.emf"/><Relationship Id="rId4" Type="http://schemas.openxmlformats.org/officeDocument/2006/relationships/tags" Target="../tags/tag712.xml"/><Relationship Id="rId9" Type="http://schemas.openxmlformats.org/officeDocument/2006/relationships/oleObject" Target="../embeddings/oleObject97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17.xml"/><Relationship Id="rId7" Type="http://schemas.openxmlformats.org/officeDocument/2006/relationships/tags" Target="../tags/tag721.xml"/><Relationship Id="rId2" Type="http://schemas.openxmlformats.org/officeDocument/2006/relationships/tags" Target="../tags/tag716.xml"/><Relationship Id="rId1" Type="http://schemas.openxmlformats.org/officeDocument/2006/relationships/vmlDrawing" Target="../drawings/vmlDrawing98.vml"/><Relationship Id="rId6" Type="http://schemas.openxmlformats.org/officeDocument/2006/relationships/tags" Target="../tags/tag720.xml"/><Relationship Id="rId5" Type="http://schemas.openxmlformats.org/officeDocument/2006/relationships/tags" Target="../tags/tag719.xml"/><Relationship Id="rId10" Type="http://schemas.openxmlformats.org/officeDocument/2006/relationships/image" Target="../media/image2.emf"/><Relationship Id="rId4" Type="http://schemas.openxmlformats.org/officeDocument/2006/relationships/tags" Target="../tags/tag718.xml"/><Relationship Id="rId9" Type="http://schemas.openxmlformats.org/officeDocument/2006/relationships/oleObject" Target="../embeddings/oleObject98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23.xml"/><Relationship Id="rId7" Type="http://schemas.openxmlformats.org/officeDocument/2006/relationships/tags" Target="../tags/tag727.xml"/><Relationship Id="rId2" Type="http://schemas.openxmlformats.org/officeDocument/2006/relationships/tags" Target="../tags/tag722.xml"/><Relationship Id="rId1" Type="http://schemas.openxmlformats.org/officeDocument/2006/relationships/vmlDrawing" Target="../drawings/vmlDrawing99.vml"/><Relationship Id="rId6" Type="http://schemas.openxmlformats.org/officeDocument/2006/relationships/tags" Target="../tags/tag726.xml"/><Relationship Id="rId5" Type="http://schemas.openxmlformats.org/officeDocument/2006/relationships/tags" Target="../tags/tag725.xml"/><Relationship Id="rId10" Type="http://schemas.openxmlformats.org/officeDocument/2006/relationships/image" Target="../media/image2.emf"/><Relationship Id="rId4" Type="http://schemas.openxmlformats.org/officeDocument/2006/relationships/tags" Target="../tags/tag724.xml"/><Relationship Id="rId9" Type="http://schemas.openxmlformats.org/officeDocument/2006/relationships/oleObject" Target="../embeddings/oleObject99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734.xml"/><Relationship Id="rId3" Type="http://schemas.openxmlformats.org/officeDocument/2006/relationships/tags" Target="../tags/tag729.xml"/><Relationship Id="rId7" Type="http://schemas.openxmlformats.org/officeDocument/2006/relationships/tags" Target="../tags/tag733.xml"/><Relationship Id="rId2" Type="http://schemas.openxmlformats.org/officeDocument/2006/relationships/tags" Target="../tags/tag728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732.xml"/><Relationship Id="rId11" Type="http://schemas.openxmlformats.org/officeDocument/2006/relationships/image" Target="../media/image2.emf"/><Relationship Id="rId5" Type="http://schemas.openxmlformats.org/officeDocument/2006/relationships/tags" Target="../tags/tag731.xml"/><Relationship Id="rId10" Type="http://schemas.openxmlformats.org/officeDocument/2006/relationships/oleObject" Target="../embeddings/oleObject100.bin"/><Relationship Id="rId4" Type="http://schemas.openxmlformats.org/officeDocument/2006/relationships/tags" Target="../tags/tag730.xml"/><Relationship Id="rId9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741.xml"/><Relationship Id="rId3" Type="http://schemas.openxmlformats.org/officeDocument/2006/relationships/tags" Target="../tags/tag736.xml"/><Relationship Id="rId7" Type="http://schemas.openxmlformats.org/officeDocument/2006/relationships/tags" Target="../tags/tag740.xml"/><Relationship Id="rId12" Type="http://schemas.openxmlformats.org/officeDocument/2006/relationships/image" Target="../media/image1.emf"/><Relationship Id="rId2" Type="http://schemas.openxmlformats.org/officeDocument/2006/relationships/tags" Target="../tags/tag735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739.xml"/><Relationship Id="rId11" Type="http://schemas.openxmlformats.org/officeDocument/2006/relationships/oleObject" Target="../embeddings/oleObject101.bin"/><Relationship Id="rId5" Type="http://schemas.openxmlformats.org/officeDocument/2006/relationships/tags" Target="../tags/tag738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737.xml"/><Relationship Id="rId9" Type="http://schemas.openxmlformats.org/officeDocument/2006/relationships/tags" Target="../tags/tag742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749.xml"/><Relationship Id="rId3" Type="http://schemas.openxmlformats.org/officeDocument/2006/relationships/tags" Target="../tags/tag744.xml"/><Relationship Id="rId7" Type="http://schemas.openxmlformats.org/officeDocument/2006/relationships/tags" Target="../tags/tag748.xml"/><Relationship Id="rId12" Type="http://schemas.openxmlformats.org/officeDocument/2006/relationships/image" Target="../media/image1.emf"/><Relationship Id="rId2" Type="http://schemas.openxmlformats.org/officeDocument/2006/relationships/tags" Target="../tags/tag743.xml"/><Relationship Id="rId1" Type="http://schemas.openxmlformats.org/officeDocument/2006/relationships/vmlDrawing" Target="../drawings/vmlDrawing102.vml"/><Relationship Id="rId6" Type="http://schemas.openxmlformats.org/officeDocument/2006/relationships/tags" Target="../tags/tag747.xml"/><Relationship Id="rId11" Type="http://schemas.openxmlformats.org/officeDocument/2006/relationships/oleObject" Target="../embeddings/oleObject102.bin"/><Relationship Id="rId5" Type="http://schemas.openxmlformats.org/officeDocument/2006/relationships/tags" Target="../tags/tag746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745.xml"/><Relationship Id="rId9" Type="http://schemas.openxmlformats.org/officeDocument/2006/relationships/tags" Target="../tags/tag750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57.xml"/><Relationship Id="rId3" Type="http://schemas.openxmlformats.org/officeDocument/2006/relationships/tags" Target="../tags/tag752.xml"/><Relationship Id="rId7" Type="http://schemas.openxmlformats.org/officeDocument/2006/relationships/tags" Target="../tags/tag756.xml"/><Relationship Id="rId12" Type="http://schemas.openxmlformats.org/officeDocument/2006/relationships/image" Target="../media/image2.emf"/><Relationship Id="rId2" Type="http://schemas.openxmlformats.org/officeDocument/2006/relationships/tags" Target="../tags/tag751.xml"/><Relationship Id="rId1" Type="http://schemas.openxmlformats.org/officeDocument/2006/relationships/vmlDrawing" Target="../drawings/vmlDrawing103.vml"/><Relationship Id="rId6" Type="http://schemas.openxmlformats.org/officeDocument/2006/relationships/tags" Target="../tags/tag755.xml"/><Relationship Id="rId11" Type="http://schemas.openxmlformats.org/officeDocument/2006/relationships/oleObject" Target="../embeddings/oleObject103.bin"/><Relationship Id="rId5" Type="http://schemas.openxmlformats.org/officeDocument/2006/relationships/tags" Target="../tags/tag754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753.xml"/><Relationship Id="rId9" Type="http://schemas.openxmlformats.org/officeDocument/2006/relationships/tags" Target="../tags/tag758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765.xml"/><Relationship Id="rId3" Type="http://schemas.openxmlformats.org/officeDocument/2006/relationships/tags" Target="../tags/tag760.xml"/><Relationship Id="rId7" Type="http://schemas.openxmlformats.org/officeDocument/2006/relationships/tags" Target="../tags/tag764.xml"/><Relationship Id="rId12" Type="http://schemas.openxmlformats.org/officeDocument/2006/relationships/image" Target="../media/image1.emf"/><Relationship Id="rId2" Type="http://schemas.openxmlformats.org/officeDocument/2006/relationships/tags" Target="../tags/tag759.xml"/><Relationship Id="rId1" Type="http://schemas.openxmlformats.org/officeDocument/2006/relationships/vmlDrawing" Target="../drawings/vmlDrawing104.vml"/><Relationship Id="rId6" Type="http://schemas.openxmlformats.org/officeDocument/2006/relationships/tags" Target="../tags/tag763.xml"/><Relationship Id="rId11" Type="http://schemas.openxmlformats.org/officeDocument/2006/relationships/oleObject" Target="../embeddings/oleObject104.bin"/><Relationship Id="rId5" Type="http://schemas.openxmlformats.org/officeDocument/2006/relationships/tags" Target="../tags/tag762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761.xml"/><Relationship Id="rId9" Type="http://schemas.openxmlformats.org/officeDocument/2006/relationships/tags" Target="../tags/tag766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773.xml"/><Relationship Id="rId3" Type="http://schemas.openxmlformats.org/officeDocument/2006/relationships/tags" Target="../tags/tag768.xml"/><Relationship Id="rId7" Type="http://schemas.openxmlformats.org/officeDocument/2006/relationships/tags" Target="../tags/tag772.xml"/><Relationship Id="rId12" Type="http://schemas.openxmlformats.org/officeDocument/2006/relationships/image" Target="../media/image2.emf"/><Relationship Id="rId2" Type="http://schemas.openxmlformats.org/officeDocument/2006/relationships/tags" Target="../tags/tag767.xml"/><Relationship Id="rId1" Type="http://schemas.openxmlformats.org/officeDocument/2006/relationships/vmlDrawing" Target="../drawings/vmlDrawing105.vml"/><Relationship Id="rId6" Type="http://schemas.openxmlformats.org/officeDocument/2006/relationships/tags" Target="../tags/tag771.xml"/><Relationship Id="rId11" Type="http://schemas.openxmlformats.org/officeDocument/2006/relationships/oleObject" Target="../embeddings/oleObject105.bin"/><Relationship Id="rId5" Type="http://schemas.openxmlformats.org/officeDocument/2006/relationships/tags" Target="../tags/tag770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769.xml"/><Relationship Id="rId9" Type="http://schemas.openxmlformats.org/officeDocument/2006/relationships/tags" Target="../tags/tag774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76.xml"/><Relationship Id="rId7" Type="http://schemas.openxmlformats.org/officeDocument/2006/relationships/tags" Target="../tags/tag780.xml"/><Relationship Id="rId2" Type="http://schemas.openxmlformats.org/officeDocument/2006/relationships/tags" Target="../tags/tag775.xml"/><Relationship Id="rId1" Type="http://schemas.openxmlformats.org/officeDocument/2006/relationships/vmlDrawing" Target="../drawings/vmlDrawing106.vml"/><Relationship Id="rId6" Type="http://schemas.openxmlformats.org/officeDocument/2006/relationships/tags" Target="../tags/tag779.xml"/><Relationship Id="rId5" Type="http://schemas.openxmlformats.org/officeDocument/2006/relationships/tags" Target="../tags/tag778.xml"/><Relationship Id="rId10" Type="http://schemas.openxmlformats.org/officeDocument/2006/relationships/image" Target="../media/image2.emf"/><Relationship Id="rId4" Type="http://schemas.openxmlformats.org/officeDocument/2006/relationships/tags" Target="../tags/tag777.xml"/><Relationship Id="rId9" Type="http://schemas.openxmlformats.org/officeDocument/2006/relationships/oleObject" Target="../embeddings/oleObject10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74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3371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33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217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41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20598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181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00315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39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7911468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967111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317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5859808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83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008761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639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513095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44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343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64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19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0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102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047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21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0069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178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20075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892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43831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39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627399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834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00502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2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8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839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63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12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61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931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51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414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81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02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08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864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37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620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79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951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136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16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16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65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736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443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17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476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0565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549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669862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954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829274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639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61131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36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177696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63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01659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235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570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7383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8062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22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796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7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820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76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965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4365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453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12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128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5597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83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941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299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67517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72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5469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20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90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077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572182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1539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72063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91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14303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187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274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5171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39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8674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375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2792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547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6086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50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2715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99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7084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918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982683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791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7432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472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7967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186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4395F1-EA8C-437C-A91A-1EEA147C9863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8EF4F-B50A-4ADC-B6BC-DF3AF73F2EB9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ln>
            <a:solidFill>
              <a:srgbClr val="007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89EB794-6F9E-4DCD-AC31-3D0ED6C9897C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teg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1A331A-B619-42CA-BBBE-DF3F6826E85C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Inno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D139C-C2E2-407F-AC1C-97ABDB4A173F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Team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71B2C7-5181-4705-A5C9-5FCDF729D759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07BAF"/>
                </a:solidFill>
                <a:latin typeface="+mn-lt"/>
              </a:rPr>
              <a:t>Excelle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24C25B-F906-4DAD-BAD2-6200AC3F946A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290137-83ED-417A-8B5B-4D2BFCD3A539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9CCF94-9694-415D-BF5E-7C01AA3CDE37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A6A747-F17B-4657-B12B-C68048203F3D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C287FD2-4C93-42B6-8830-FDAE2B31182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27" name="Picture 1960">
            <a:extLst>
              <a:ext uri="{FF2B5EF4-FFF2-40B4-BE49-F238E27FC236}">
                <a16:creationId xmlns:a16="http://schemas.microsoft.com/office/drawing/2014/main" id="{F3D4250E-3BF0-40E9-A7CA-1DC757439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50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570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45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606767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9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15B1EE5-C2B4-4493-B091-7F23F3D3C5E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867401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39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A003A8-4C8A-45C6-8A49-DEE5DE68BD8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18704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85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D2148B6-CB5B-413D-8FBA-C6E2D697C93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573429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102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25D1149-58B3-422E-9E4D-49FD80CEB79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152206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708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2883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75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3709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6776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3467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234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60ADDC-01FB-4287-A94A-51EFA9D6680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597E380F-8E79-406D-A3CC-95C9AC15FE9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3486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320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F6990E-D4D9-4C57-BC15-780A0194B9E5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2482EFFC-DC92-44EF-A52E-DAC3478FA8DC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07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5162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48C333-4F5F-49E9-82A7-8DBB1B50CEB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82CD8784-2542-4D62-828F-39D82E1CF14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536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93BAA5-9DEE-4805-973A-1FEA9C6743B3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8EE600-6E37-42A0-83A4-360596A7F1A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25A3648-AFA7-4C82-8A41-910CE53A6D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AF937C66-810A-4509-B23C-66AFBE6541EB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495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7827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F94A204-2C0D-44BE-BB1C-205AEA601C80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C96A27-B3C3-4A57-ADF1-C7ED11AD6FE8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BD602B78-AC6A-4090-A099-871BC23F0D5A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F39F2F0C-A46B-4E2D-A561-26277FADE8E0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931677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76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A67977-E55D-41C6-B65C-793C9FBD6B0B}"/>
              </a:ext>
            </a:extLst>
          </p:cNvPr>
          <p:cNvSpPr/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>
            <a:solidFill>
              <a:srgbClr val="0C41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0B111D-A1FC-4AF5-819C-193FC0CFF2AD}"/>
              </a:ext>
            </a:extLst>
          </p:cNvPr>
          <p:cNvSpPr/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1721DA-1AF5-4E82-B1CC-1B2A355963D1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chemeClr val="bg1"/>
                </a:solidFill>
                <a:latin typeface="+mn-lt"/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chemeClr val="tx2"/>
              </a:solidFill>
              <a:latin typeface="+mn-lt"/>
              <a:cs typeface="Calibr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80268-832E-4745-9780-83EFD94153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35246F-8F02-4A6B-ABC5-01EA57C50424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		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ED0F16-C461-42C2-9C70-7362877EFB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069BAF-47D9-44D1-A1FD-5AECD7CC7C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1085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6031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340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45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04212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9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366508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477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64545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403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1808352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542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050417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889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02442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1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E42F56-B62A-4B87-8681-B8168DC20D94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E1188FF7-0BEB-4D05-A4C7-E6EF9C19EB11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481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841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47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2496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79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753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7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8121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14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1315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564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65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662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975F206-C332-44C5-9280-59140A6511BE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69CE3A-3A9C-4155-ABBB-84AACD15A027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117BBD3-0DEC-429F-BEF0-1AC2AB2EEDE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4747C12-2420-49AA-A10E-076F73D85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A6228CA-E87F-463C-89BC-0F7A91BDD16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9EBCF59B-453B-4FFA-BA98-0191752241B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76020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52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751422F-164E-45BB-845D-8FF416019302}"/>
              </a:ext>
            </a:extLst>
          </p:cNvPr>
          <p:cNvSpPr>
            <a:spLocks/>
          </p:cNvSpPr>
          <p:nvPr userDrawn="1"/>
        </p:nvSpPr>
        <p:spPr>
          <a:xfrm>
            <a:off x="5060036" y="0"/>
            <a:ext cx="7131963" cy="6858000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2B8A44-D734-46F0-876B-F6B029954423}"/>
              </a:ext>
            </a:extLst>
          </p:cNvPr>
          <p:cNvSpPr>
            <a:spLocks/>
          </p:cNvSpPr>
          <p:nvPr userDrawn="1"/>
        </p:nvSpPr>
        <p:spPr>
          <a:xfrm>
            <a:off x="4954158" y="0"/>
            <a:ext cx="105878" cy="6858000"/>
          </a:xfrm>
          <a:prstGeom prst="rect">
            <a:avLst/>
          </a:prstGeom>
          <a:solidFill>
            <a:srgbClr val="007BAF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3A8E3A-730F-44AA-9B01-7999318E4275}"/>
              </a:ext>
            </a:extLst>
          </p:cNvPr>
          <p:cNvSpPr txBox="1">
            <a:spLocks/>
          </p:cNvSpPr>
          <p:nvPr userDrawn="1"/>
        </p:nvSpPr>
        <p:spPr>
          <a:xfrm>
            <a:off x="5384514" y="625410"/>
            <a:ext cx="6470601" cy="701731"/>
          </a:xfrm>
          <a:prstGeom prst="rect">
            <a:avLst/>
          </a:prstGeom>
        </p:spPr>
        <p:txBody>
          <a:bodyPr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en-US" b="1" i="1" dirty="0">
                <a:solidFill>
                  <a:srgbClr val="FFFFFF"/>
                </a:solidFill>
                <a:cs typeface="Aharoni" panose="020B0604020202020204" pitchFamily="2" charset="-79"/>
              </a:rPr>
              <a:t>Stay in touch!</a:t>
            </a:r>
            <a:endParaRPr lang="en-US" sz="2000" b="1" i="1" dirty="0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F5D4B7-24EA-4A3B-AA93-5D4F09BC389F}"/>
              </a:ext>
            </a:extLst>
          </p:cNvPr>
          <p:cNvSpPr txBox="1">
            <a:spLocks/>
          </p:cNvSpPr>
          <p:nvPr userDrawn="1"/>
        </p:nvSpPr>
        <p:spPr>
          <a:xfrm>
            <a:off x="5384514" y="1691412"/>
            <a:ext cx="6470601" cy="4093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Phon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984-236-060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	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Websit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sbm.nc.gov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Follow us: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          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@ NC Office of State Budget &amp;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            @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NCDemographer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		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D3A9AB-CF0F-4AE5-B3FB-DBB9EADD4B8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931" y="5427821"/>
            <a:ext cx="2967472" cy="103276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F2094DE-D374-4FCD-ABEB-D73C89E93F9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4610202"/>
            <a:ext cx="578630" cy="49206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DA0532D-F971-406A-A6F7-A776DF6407F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9" y="5292778"/>
            <a:ext cx="492062" cy="4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9433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282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CFF8217-26ED-48E1-8696-D202B014B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AE4DB-AF73-4A03-B806-F67C13D590C7}"/>
              </a:ext>
            </a:extLst>
          </p:cNvPr>
          <p:cNvSpPr/>
          <p:nvPr userDrawn="1"/>
        </p:nvSpPr>
        <p:spPr>
          <a:xfrm>
            <a:off x="0" y="5802923"/>
            <a:ext cx="12192000" cy="1055076"/>
          </a:xfrm>
          <a:prstGeom prst="rect">
            <a:avLst/>
          </a:prstGeom>
          <a:solidFill>
            <a:srgbClr val="0C4169"/>
          </a:solidFill>
          <a:ln w="10795" cap="flat" cmpd="sng" algn="ctr">
            <a:solidFill>
              <a:srgbClr val="0C41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AFCED9-2E14-47A8-B381-826EF2DA7F7A}"/>
              </a:ext>
            </a:extLst>
          </p:cNvPr>
          <p:cNvCxnSpPr>
            <a:cxnSpLocks/>
          </p:cNvCxnSpPr>
          <p:nvPr userDrawn="1"/>
        </p:nvCxnSpPr>
        <p:spPr>
          <a:xfrm>
            <a:off x="5951621" y="1013460"/>
            <a:ext cx="0" cy="4020861"/>
          </a:xfrm>
          <a:prstGeom prst="line">
            <a:avLst/>
          </a:prstGeom>
          <a:noFill/>
          <a:ln w="9525" cap="flat" cmpd="sng" algn="ctr">
            <a:solidFill>
              <a:srgbClr val="007BAF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9F79BAD-A886-4255-9A81-8C37666B9796}"/>
              </a:ext>
            </a:extLst>
          </p:cNvPr>
          <p:cNvSpPr txBox="1"/>
          <p:nvPr userDrawn="1"/>
        </p:nvSpPr>
        <p:spPr>
          <a:xfrm>
            <a:off x="1615639" y="6176573"/>
            <a:ext cx="879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tegr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ED46D0-5058-4C8E-A08F-743F21FDF087}"/>
              </a:ext>
            </a:extLst>
          </p:cNvPr>
          <p:cNvSpPr txBox="1"/>
          <p:nvPr userDrawn="1"/>
        </p:nvSpPr>
        <p:spPr>
          <a:xfrm>
            <a:off x="4095741" y="6176573"/>
            <a:ext cx="11147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Innov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0F7AF6-9E73-48B4-8E3C-1A27C628C2BD}"/>
              </a:ext>
            </a:extLst>
          </p:cNvPr>
          <p:cNvSpPr txBox="1"/>
          <p:nvPr userDrawn="1"/>
        </p:nvSpPr>
        <p:spPr>
          <a:xfrm>
            <a:off x="6810907" y="6176573"/>
            <a:ext cx="10792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Team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7586DE-0C17-43CA-AA68-31D751CE5715}"/>
              </a:ext>
            </a:extLst>
          </p:cNvPr>
          <p:cNvSpPr txBox="1"/>
          <p:nvPr userDrawn="1"/>
        </p:nvSpPr>
        <p:spPr>
          <a:xfrm>
            <a:off x="9490487" y="6176573"/>
            <a:ext cx="108587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7BAF"/>
                </a:solidFill>
                <a:effectLst/>
                <a:uLnTx/>
                <a:uFillTx/>
              </a:rPr>
              <a:t>Excellenc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34CDA5-7A98-4AC3-BCDC-51FE7B59ED17}"/>
              </a:ext>
            </a:extLst>
          </p:cNvPr>
          <p:cNvGrpSpPr/>
          <p:nvPr userDrawn="1"/>
        </p:nvGrpSpPr>
        <p:grpSpPr>
          <a:xfrm>
            <a:off x="942383" y="121766"/>
            <a:ext cx="10307234" cy="123092"/>
            <a:chOff x="942383" y="121766"/>
            <a:chExt cx="10307234" cy="12309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097091-7D86-4A84-A256-AADEF500D981}"/>
                </a:ext>
              </a:extLst>
            </p:cNvPr>
            <p:cNvSpPr>
              <a:spLocks/>
            </p:cNvSpPr>
            <p:nvPr userDrawn="1"/>
          </p:nvSpPr>
          <p:spPr>
            <a:xfrm>
              <a:off x="942383" y="121766"/>
              <a:ext cx="3315674" cy="123092"/>
            </a:xfrm>
            <a:prstGeom prst="rect">
              <a:avLst/>
            </a:prstGeom>
            <a:solidFill>
              <a:srgbClr val="0C4169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7662CF7-D206-468C-9F38-1AF710687CF1}"/>
                </a:ext>
              </a:extLst>
            </p:cNvPr>
            <p:cNvSpPr>
              <a:spLocks/>
            </p:cNvSpPr>
            <p:nvPr userDrawn="1"/>
          </p:nvSpPr>
          <p:spPr>
            <a:xfrm>
              <a:off x="4438163" y="121766"/>
              <a:ext cx="3315674" cy="123092"/>
            </a:xfrm>
            <a:prstGeom prst="rect">
              <a:avLst/>
            </a:prstGeom>
            <a:solidFill>
              <a:srgbClr val="007BA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B73F1C-11C9-4B61-98ED-97C95B2EE0E1}"/>
                </a:ext>
              </a:extLst>
            </p:cNvPr>
            <p:cNvSpPr>
              <a:spLocks/>
            </p:cNvSpPr>
            <p:nvPr userDrawn="1"/>
          </p:nvSpPr>
          <p:spPr>
            <a:xfrm>
              <a:off x="7933943" y="121766"/>
              <a:ext cx="3315674" cy="123092"/>
            </a:xfrm>
            <a:prstGeom prst="rect">
              <a:avLst/>
            </a:prstGeom>
            <a:solidFill>
              <a:srgbClr val="7F7F7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9290BB-8119-4187-B17C-A76B81D38B6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330" y="1284929"/>
            <a:ext cx="3235723" cy="1126121"/>
          </a:xfrm>
          <a:prstGeom prst="rect">
            <a:avLst/>
          </a:prstGeom>
        </p:spPr>
      </p:pic>
      <p:pic>
        <p:nvPicPr>
          <p:cNvPr id="32" name="Picture 1960">
            <a:extLst>
              <a:ext uri="{FF2B5EF4-FFF2-40B4-BE49-F238E27FC236}">
                <a16:creationId xmlns:a16="http://schemas.microsoft.com/office/drawing/2014/main" id="{9BF527DE-ECD9-47F7-9410-1D13D4B5AF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429" y="2781543"/>
            <a:ext cx="2961525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Documenttype">
            <a:extLst>
              <a:ext uri="{FF2B5EF4-FFF2-40B4-BE49-F238E27FC236}">
                <a16:creationId xmlns:a16="http://schemas.microsoft.com/office/drawing/2014/main" id="{4C046A6A-BA35-4A9A-943C-C4FA94F16D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0425" y="4731548"/>
            <a:ext cx="452476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34" name="Subtitle">
            <a:extLst>
              <a:ext uri="{FF2B5EF4-FFF2-40B4-BE49-F238E27FC236}">
                <a16:creationId xmlns:a16="http://schemas.microsoft.com/office/drawing/2014/main" id="{003B3CB4-BC9D-4877-9D2D-B96D1926F59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10425" y="3947501"/>
            <a:ext cx="4524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5CF5F402-D1B3-400F-B3CC-2D5D952BA71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10425" y="1070573"/>
            <a:ext cx="452476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054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77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3557593-2406-4C94-9044-32056953CF6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7F94A25-42FC-496D-88F8-1DDA87F3C40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500"/>
            <a:ext cx="996696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9736FCA-CADA-41B2-8CD6-342FDAC5189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79E478BF-C5A8-4B27-A09E-CE52B374990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B6A5373A-0D47-40D6-96F1-2AC4B13501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80287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056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2E9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872DA28-C220-4F7E-9307-705EC2900E4C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96276C46-E3FB-4402-BAAA-1B15B01A2D32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505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04EBAB8-A506-4A9B-A57B-93105B2D36B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8D55616-23DD-4645-9472-79F0A3A1EF1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489BBCEB-58D9-47CA-8ECB-2DEA8809AED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28C11D6-F439-43C7-94EC-D8D13087364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7630083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6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29CF515E-5715-41E6-B46E-46EC9150D1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9094D4-BE45-40AD-AAB6-96952A17610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D9EEC0A-2DE2-4F23-942D-929BE4832D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4E834C9-408C-4323-9815-5739DD823F1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17142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8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7885F12-E773-446B-BEAE-B570404030D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3878AB4-1935-4BFE-807F-6FB745CFD34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E26304F4-E8D3-4193-9653-B26DCB2B974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4B8FCDE-0B47-4291-8CF3-E12F8CABD62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4315822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56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7928FCB-E844-4B1D-81CF-67A704C60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99B15D9E-6DE4-4F26-BBB6-3DB1E7A120C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3397D82-8D68-4882-9DD7-2E70397D96C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DC6E02E-0692-4C6B-A7C3-0D9679D146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40EBB07-53AB-4C73-BD0E-DA56EEBB42E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59849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022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8BC4C30-2ACA-44EA-A6F6-7DE4CCB86AC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61FC456-8739-4F01-A39D-3EA7954CC1B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FF4DE1-A922-4E4E-9225-A79BF7FA8E69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3F16D1E-B0E9-43D2-874B-DFC230D3FDC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E2E7ADF3-257F-464F-A671-DDA3AD2C142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CAACF65-F8A4-4A12-8D41-B0076E0BA17E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75614B08-9928-4039-AE0D-5861AE75209C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1286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608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781BA27-20F8-474A-9123-B4A4676D488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211CE21-19E6-4763-8427-A34A5227ACE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30A06403-0E8D-4C38-A533-85FF1A2C9E9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83C33E1-9958-4927-ADAF-81696838066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406A52F-E81D-4740-A01A-3AACEFC902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8C6BDD-3DFE-4368-867E-6DBB9CEFA5E4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4456C890-9FAA-4C7E-BA95-EE66A9EE9A1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0846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3006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8FBE08E-B668-4CDB-BE07-DB6BC2261FB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73DADF2E-9296-48A6-B200-406C74D5548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7F78F02-E588-470F-B989-94F18275128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9B50DCA-3270-479A-A6CF-0E0B09A9C92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9A77373-81E2-4DF8-8B3A-F047126630A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FD3ED7-87AA-4566-B098-28E6ADD2771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A5A7E04-C7C4-4D70-B42D-576B55FAD89B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4909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679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5CC38DB-9BFA-4B89-A05C-930CB61B422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6967728" cy="3847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B5DB97F-4C2D-4E01-94BB-FA8C0A99E25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2AE9E013-37F7-4BD4-A681-E029E6BCBF6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3DB5F336-B301-4706-97D5-A756CCDC84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F360656-48ED-415C-81E2-A834549C9E4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1A9E3E-9298-4A2D-A561-E53718A6C65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8775C896-BC2D-4D65-B161-B09D5E1E709D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62409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049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2E22F25-0ACA-4D49-9868-5DA903EDABD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EE04000-5769-4A52-88DC-162EEEBA675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33118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C6CF472-08B7-4A6B-9249-102EC960491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77500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6B3F59C-65FF-4420-8C32-834BD2D7056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7E365CB-1F7B-4D06-80C8-2053A611BB8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95C3D5A-88E6-4C4D-825E-ABA22E279CA2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147F992A-8510-4958-B0D5-9767C3712000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0358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81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7317BC-0FDB-4821-9F68-C06F0F892CF9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D6D45AA-6FE2-458B-85B4-FF1B868D57D9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B35816C-9FFB-42DF-AF3A-4EF8C990C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A8E5CDE9-B13D-4A1A-B9F6-0AE412372B2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33118"/>
            <a:ext cx="9966960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592F2AB4-9C34-4BE5-BF22-1881373577B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B6A6FF2-95E8-46E7-887D-853A4EDB89A3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498754"/>
            <a:ext cx="996696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Freeform 26">
            <a:extLst>
              <a:ext uri="{FF2B5EF4-FFF2-40B4-BE49-F238E27FC236}">
                <a16:creationId xmlns:a16="http://schemas.microsoft.com/office/drawing/2014/main" id="{D883C50B-D5F4-4C21-B281-8ECEA95143D6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88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oleObject" Target="../embeddings/oleObject17.bin"/><Relationship Id="rId2" Type="http://schemas.openxmlformats.org/officeDocument/2006/relationships/slideLayout" Target="../slideLayouts/slideLayout17.xml"/><Relationship Id="rId16" Type="http://schemas.openxmlformats.org/officeDocument/2006/relationships/vmlDrawing" Target="../drawings/vmlDrawing17.v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228.xml"/><Relationship Id="rId26" Type="http://schemas.openxmlformats.org/officeDocument/2006/relationships/tags" Target="../tags/tag236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231.xml"/><Relationship Id="rId34" Type="http://schemas.openxmlformats.org/officeDocument/2006/relationships/tags" Target="../tags/tag244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227.xml"/><Relationship Id="rId25" Type="http://schemas.openxmlformats.org/officeDocument/2006/relationships/tags" Target="../tags/tag235.xml"/><Relationship Id="rId33" Type="http://schemas.openxmlformats.org/officeDocument/2006/relationships/tags" Target="../tags/tag243.xml"/><Relationship Id="rId38" Type="http://schemas.openxmlformats.org/officeDocument/2006/relationships/oleObject" Target="../embeddings/oleObject32.bin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32.vml"/><Relationship Id="rId20" Type="http://schemas.openxmlformats.org/officeDocument/2006/relationships/tags" Target="../tags/tag230.xml"/><Relationship Id="rId29" Type="http://schemas.openxmlformats.org/officeDocument/2006/relationships/tags" Target="../tags/tag23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234.xml"/><Relationship Id="rId32" Type="http://schemas.openxmlformats.org/officeDocument/2006/relationships/tags" Target="../tags/tag242.xml"/><Relationship Id="rId37" Type="http://schemas.openxmlformats.org/officeDocument/2006/relationships/tags" Target="../tags/tag247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23" Type="http://schemas.openxmlformats.org/officeDocument/2006/relationships/tags" Target="../tags/tag233.xml"/><Relationship Id="rId28" Type="http://schemas.openxmlformats.org/officeDocument/2006/relationships/tags" Target="../tags/tag238.xml"/><Relationship Id="rId36" Type="http://schemas.openxmlformats.org/officeDocument/2006/relationships/tags" Target="../tags/tag246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229.xml"/><Relationship Id="rId31" Type="http://schemas.openxmlformats.org/officeDocument/2006/relationships/tags" Target="../tags/tag241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232.xml"/><Relationship Id="rId27" Type="http://schemas.openxmlformats.org/officeDocument/2006/relationships/tags" Target="../tags/tag237.xml"/><Relationship Id="rId30" Type="http://schemas.openxmlformats.org/officeDocument/2006/relationships/tags" Target="../tags/tag240.xml"/><Relationship Id="rId35" Type="http://schemas.openxmlformats.org/officeDocument/2006/relationships/tags" Target="../tags/tag2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336.xml"/><Relationship Id="rId26" Type="http://schemas.openxmlformats.org/officeDocument/2006/relationships/tags" Target="../tags/tag344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339.xml"/><Relationship Id="rId34" Type="http://schemas.openxmlformats.org/officeDocument/2006/relationships/tags" Target="../tags/tag352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vmlDrawing" Target="../drawings/vmlDrawing47.vml"/><Relationship Id="rId25" Type="http://schemas.openxmlformats.org/officeDocument/2006/relationships/tags" Target="../tags/tag343.xml"/><Relationship Id="rId33" Type="http://schemas.openxmlformats.org/officeDocument/2006/relationships/tags" Target="../tags/tag351.xml"/><Relationship Id="rId38" Type="http://schemas.openxmlformats.org/officeDocument/2006/relationships/oleObject" Target="../embeddings/oleObject47.bin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4.xml"/><Relationship Id="rId20" Type="http://schemas.openxmlformats.org/officeDocument/2006/relationships/tags" Target="../tags/tag338.xml"/><Relationship Id="rId29" Type="http://schemas.openxmlformats.org/officeDocument/2006/relationships/tags" Target="../tags/tag347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ags" Target="../tags/tag342.xml"/><Relationship Id="rId32" Type="http://schemas.openxmlformats.org/officeDocument/2006/relationships/tags" Target="../tags/tag350.xml"/><Relationship Id="rId37" Type="http://schemas.openxmlformats.org/officeDocument/2006/relationships/tags" Target="../tags/tag355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tags" Target="../tags/tag341.xml"/><Relationship Id="rId28" Type="http://schemas.openxmlformats.org/officeDocument/2006/relationships/tags" Target="../tags/tag346.xml"/><Relationship Id="rId36" Type="http://schemas.openxmlformats.org/officeDocument/2006/relationships/tags" Target="../tags/tag354.xml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337.xml"/><Relationship Id="rId31" Type="http://schemas.openxmlformats.org/officeDocument/2006/relationships/tags" Target="../tags/tag349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ags" Target="../tags/tag340.xml"/><Relationship Id="rId27" Type="http://schemas.openxmlformats.org/officeDocument/2006/relationships/tags" Target="../tags/tag345.xml"/><Relationship Id="rId30" Type="http://schemas.openxmlformats.org/officeDocument/2006/relationships/tags" Target="../tags/tag348.xml"/><Relationship Id="rId35" Type="http://schemas.openxmlformats.org/officeDocument/2006/relationships/tags" Target="../tags/tag3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tags" Target="../tags/tag452.xml"/><Relationship Id="rId26" Type="http://schemas.openxmlformats.org/officeDocument/2006/relationships/tags" Target="../tags/tag460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455.xml"/><Relationship Id="rId34" Type="http://schemas.openxmlformats.org/officeDocument/2006/relationships/tags" Target="../tags/tag468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vmlDrawing" Target="../drawings/vmlDrawing63.vml"/><Relationship Id="rId25" Type="http://schemas.openxmlformats.org/officeDocument/2006/relationships/tags" Target="../tags/tag459.xml"/><Relationship Id="rId33" Type="http://schemas.openxmlformats.org/officeDocument/2006/relationships/tags" Target="../tags/tag467.xml"/><Relationship Id="rId38" Type="http://schemas.openxmlformats.org/officeDocument/2006/relationships/oleObject" Target="../embeddings/oleObject63.bin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5.xml"/><Relationship Id="rId20" Type="http://schemas.openxmlformats.org/officeDocument/2006/relationships/tags" Target="../tags/tag454.xml"/><Relationship Id="rId29" Type="http://schemas.openxmlformats.org/officeDocument/2006/relationships/tags" Target="../tags/tag463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ags" Target="../tags/tag458.xml"/><Relationship Id="rId32" Type="http://schemas.openxmlformats.org/officeDocument/2006/relationships/tags" Target="../tags/tag466.xml"/><Relationship Id="rId37" Type="http://schemas.openxmlformats.org/officeDocument/2006/relationships/tags" Target="../tags/tag471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457.xml"/><Relationship Id="rId28" Type="http://schemas.openxmlformats.org/officeDocument/2006/relationships/tags" Target="../tags/tag462.xml"/><Relationship Id="rId36" Type="http://schemas.openxmlformats.org/officeDocument/2006/relationships/tags" Target="../tags/tag470.xml"/><Relationship Id="rId10" Type="http://schemas.openxmlformats.org/officeDocument/2006/relationships/slideLayout" Target="../slideLayouts/slideLayout68.xml"/><Relationship Id="rId19" Type="http://schemas.openxmlformats.org/officeDocument/2006/relationships/tags" Target="../tags/tag453.xml"/><Relationship Id="rId31" Type="http://schemas.openxmlformats.org/officeDocument/2006/relationships/tags" Target="../tags/tag465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tags" Target="../tags/tag456.xml"/><Relationship Id="rId27" Type="http://schemas.openxmlformats.org/officeDocument/2006/relationships/tags" Target="../tags/tag461.xml"/><Relationship Id="rId30" Type="http://schemas.openxmlformats.org/officeDocument/2006/relationships/tags" Target="../tags/tag464.xml"/><Relationship Id="rId35" Type="http://schemas.openxmlformats.org/officeDocument/2006/relationships/tags" Target="../tags/tag4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tags" Target="../tags/tag569.xml"/><Relationship Id="rId26" Type="http://schemas.openxmlformats.org/officeDocument/2006/relationships/tags" Target="../tags/tag577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572.xml"/><Relationship Id="rId34" Type="http://schemas.openxmlformats.org/officeDocument/2006/relationships/tags" Target="../tags/tag585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tags" Target="../tags/tag568.xml"/><Relationship Id="rId25" Type="http://schemas.openxmlformats.org/officeDocument/2006/relationships/tags" Target="../tags/tag576.xml"/><Relationship Id="rId33" Type="http://schemas.openxmlformats.org/officeDocument/2006/relationships/tags" Target="../tags/tag584.xml"/><Relationship Id="rId38" Type="http://schemas.openxmlformats.org/officeDocument/2006/relationships/oleObject" Target="../embeddings/oleObject79.bin"/><Relationship Id="rId2" Type="http://schemas.openxmlformats.org/officeDocument/2006/relationships/slideLayout" Target="../slideLayouts/slideLayout75.xml"/><Relationship Id="rId16" Type="http://schemas.openxmlformats.org/officeDocument/2006/relationships/vmlDrawing" Target="../drawings/vmlDrawing79.vml"/><Relationship Id="rId20" Type="http://schemas.openxmlformats.org/officeDocument/2006/relationships/tags" Target="../tags/tag571.xml"/><Relationship Id="rId29" Type="http://schemas.openxmlformats.org/officeDocument/2006/relationships/tags" Target="../tags/tag580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ags" Target="../tags/tag575.xml"/><Relationship Id="rId32" Type="http://schemas.openxmlformats.org/officeDocument/2006/relationships/tags" Target="../tags/tag583.xml"/><Relationship Id="rId37" Type="http://schemas.openxmlformats.org/officeDocument/2006/relationships/tags" Target="../tags/tag588.xml"/><Relationship Id="rId5" Type="http://schemas.openxmlformats.org/officeDocument/2006/relationships/slideLayout" Target="../slideLayouts/slideLayout78.xml"/><Relationship Id="rId15" Type="http://schemas.openxmlformats.org/officeDocument/2006/relationships/theme" Target="../theme/theme6.xml"/><Relationship Id="rId23" Type="http://schemas.openxmlformats.org/officeDocument/2006/relationships/tags" Target="../tags/tag574.xml"/><Relationship Id="rId28" Type="http://schemas.openxmlformats.org/officeDocument/2006/relationships/tags" Target="../tags/tag579.xml"/><Relationship Id="rId36" Type="http://schemas.openxmlformats.org/officeDocument/2006/relationships/tags" Target="../tags/tag587.xml"/><Relationship Id="rId10" Type="http://schemas.openxmlformats.org/officeDocument/2006/relationships/slideLayout" Target="../slideLayouts/slideLayout83.xml"/><Relationship Id="rId19" Type="http://schemas.openxmlformats.org/officeDocument/2006/relationships/tags" Target="../tags/tag570.xml"/><Relationship Id="rId31" Type="http://schemas.openxmlformats.org/officeDocument/2006/relationships/tags" Target="../tags/tag58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ags" Target="../tags/tag573.xml"/><Relationship Id="rId27" Type="http://schemas.openxmlformats.org/officeDocument/2006/relationships/tags" Target="../tags/tag578.xml"/><Relationship Id="rId30" Type="http://schemas.openxmlformats.org/officeDocument/2006/relationships/tags" Target="../tags/tag581.xml"/><Relationship Id="rId35" Type="http://schemas.openxmlformats.org/officeDocument/2006/relationships/tags" Target="../tags/tag5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ags" Target="../tags/tag678.xml"/><Relationship Id="rId26" Type="http://schemas.openxmlformats.org/officeDocument/2006/relationships/tags" Target="../tags/tag686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90.xml"/><Relationship Id="rId21" Type="http://schemas.openxmlformats.org/officeDocument/2006/relationships/tags" Target="../tags/tag681.xml"/><Relationship Id="rId34" Type="http://schemas.openxmlformats.org/officeDocument/2006/relationships/tags" Target="../tags/tag69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ags" Target="../tags/tag677.xml"/><Relationship Id="rId25" Type="http://schemas.openxmlformats.org/officeDocument/2006/relationships/tags" Target="../tags/tag685.xml"/><Relationship Id="rId33" Type="http://schemas.openxmlformats.org/officeDocument/2006/relationships/tags" Target="../tags/tag693.xml"/><Relationship Id="rId38" Type="http://schemas.openxmlformats.org/officeDocument/2006/relationships/oleObject" Target="../embeddings/oleObject94.bin"/><Relationship Id="rId2" Type="http://schemas.openxmlformats.org/officeDocument/2006/relationships/slideLayout" Target="../slideLayouts/slideLayout89.xml"/><Relationship Id="rId16" Type="http://schemas.openxmlformats.org/officeDocument/2006/relationships/vmlDrawing" Target="../drawings/vmlDrawing94.vml"/><Relationship Id="rId20" Type="http://schemas.openxmlformats.org/officeDocument/2006/relationships/tags" Target="../tags/tag680.xml"/><Relationship Id="rId29" Type="http://schemas.openxmlformats.org/officeDocument/2006/relationships/tags" Target="../tags/tag6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tags" Target="../tags/tag684.xml"/><Relationship Id="rId32" Type="http://schemas.openxmlformats.org/officeDocument/2006/relationships/tags" Target="../tags/tag692.xml"/><Relationship Id="rId37" Type="http://schemas.openxmlformats.org/officeDocument/2006/relationships/tags" Target="../tags/tag697.xml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7.xml"/><Relationship Id="rId23" Type="http://schemas.openxmlformats.org/officeDocument/2006/relationships/tags" Target="../tags/tag683.xml"/><Relationship Id="rId28" Type="http://schemas.openxmlformats.org/officeDocument/2006/relationships/tags" Target="../tags/tag688.xml"/><Relationship Id="rId36" Type="http://schemas.openxmlformats.org/officeDocument/2006/relationships/tags" Target="../tags/tag696.xml"/><Relationship Id="rId10" Type="http://schemas.openxmlformats.org/officeDocument/2006/relationships/slideLayout" Target="../slideLayouts/slideLayout97.xml"/><Relationship Id="rId19" Type="http://schemas.openxmlformats.org/officeDocument/2006/relationships/tags" Target="../tags/tag679.xml"/><Relationship Id="rId31" Type="http://schemas.openxmlformats.org/officeDocument/2006/relationships/tags" Target="../tags/tag69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tags" Target="../tags/tag682.xml"/><Relationship Id="rId27" Type="http://schemas.openxmlformats.org/officeDocument/2006/relationships/tags" Target="../tags/tag687.xml"/><Relationship Id="rId30" Type="http://schemas.openxmlformats.org/officeDocument/2006/relationships/tags" Target="../tags/tag690.xml"/><Relationship Id="rId35" Type="http://schemas.openxmlformats.org/officeDocument/2006/relationships/tags" Target="../tags/tag69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tags" Target="../tags/tag786.xml"/><Relationship Id="rId26" Type="http://schemas.openxmlformats.org/officeDocument/2006/relationships/tags" Target="../tags/tag794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104.xml"/><Relationship Id="rId21" Type="http://schemas.openxmlformats.org/officeDocument/2006/relationships/tags" Target="../tags/tag789.xml"/><Relationship Id="rId34" Type="http://schemas.openxmlformats.org/officeDocument/2006/relationships/tags" Target="../tags/tag802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vmlDrawing" Target="../drawings/vmlDrawing109.vml"/><Relationship Id="rId25" Type="http://schemas.openxmlformats.org/officeDocument/2006/relationships/tags" Target="../tags/tag793.xml"/><Relationship Id="rId33" Type="http://schemas.openxmlformats.org/officeDocument/2006/relationships/tags" Target="../tags/tag801.xml"/><Relationship Id="rId38" Type="http://schemas.openxmlformats.org/officeDocument/2006/relationships/oleObject" Target="../embeddings/oleObject109.bin"/><Relationship Id="rId2" Type="http://schemas.openxmlformats.org/officeDocument/2006/relationships/slideLayout" Target="../slideLayouts/slideLayout103.xml"/><Relationship Id="rId16" Type="http://schemas.openxmlformats.org/officeDocument/2006/relationships/theme" Target="../theme/theme8.xml"/><Relationship Id="rId20" Type="http://schemas.openxmlformats.org/officeDocument/2006/relationships/tags" Target="../tags/tag788.xml"/><Relationship Id="rId29" Type="http://schemas.openxmlformats.org/officeDocument/2006/relationships/tags" Target="../tags/tag797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tags" Target="../tags/tag792.xml"/><Relationship Id="rId32" Type="http://schemas.openxmlformats.org/officeDocument/2006/relationships/tags" Target="../tags/tag800.xml"/><Relationship Id="rId37" Type="http://schemas.openxmlformats.org/officeDocument/2006/relationships/tags" Target="../tags/tag805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tags" Target="../tags/tag791.xml"/><Relationship Id="rId28" Type="http://schemas.openxmlformats.org/officeDocument/2006/relationships/tags" Target="../tags/tag796.xml"/><Relationship Id="rId36" Type="http://schemas.openxmlformats.org/officeDocument/2006/relationships/tags" Target="../tags/tag804.xml"/><Relationship Id="rId10" Type="http://schemas.openxmlformats.org/officeDocument/2006/relationships/slideLayout" Target="../slideLayouts/slideLayout111.xml"/><Relationship Id="rId19" Type="http://schemas.openxmlformats.org/officeDocument/2006/relationships/tags" Target="../tags/tag787.xml"/><Relationship Id="rId31" Type="http://schemas.openxmlformats.org/officeDocument/2006/relationships/tags" Target="../tags/tag799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tags" Target="../tags/tag790.xml"/><Relationship Id="rId27" Type="http://schemas.openxmlformats.org/officeDocument/2006/relationships/tags" Target="../tags/tag795.xml"/><Relationship Id="rId30" Type="http://schemas.openxmlformats.org/officeDocument/2006/relationships/tags" Target="../tags/tag798.xml"/><Relationship Id="rId35" Type="http://schemas.openxmlformats.org/officeDocument/2006/relationships/tags" Target="../tags/tag8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94795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4263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55660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7538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481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  <p:sldLayoutId id="2147484148" r:id="rId12"/>
    <p:sldLayoutId id="2147484149" r:id="rId13"/>
    <p:sldLayoutId id="2147484150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657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70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  <p:sldLayoutId id="2147484352" r:id="rId11"/>
    <p:sldLayoutId id="2147484353" r:id="rId12"/>
    <p:sldLayoutId id="2147484354" r:id="rId13"/>
    <p:sldLayoutId id="2147484355" r:id="rId14"/>
    <p:sldLayoutId id="2147484356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82161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8451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  <p:sldLayoutId id="2147484376" r:id="rId3"/>
    <p:sldLayoutId id="2147484377" r:id="rId4"/>
    <p:sldLayoutId id="2147484378" r:id="rId5"/>
    <p:sldLayoutId id="2147484379" r:id="rId6"/>
    <p:sldLayoutId id="2147484380" r:id="rId7"/>
    <p:sldLayoutId id="2147484381" r:id="rId8"/>
    <p:sldLayoutId id="2147484382" r:id="rId9"/>
    <p:sldLayoutId id="2147484383" r:id="rId10"/>
    <p:sldLayoutId id="2147484384" r:id="rId11"/>
    <p:sldLayoutId id="2147484385" r:id="rId12"/>
    <p:sldLayoutId id="2147484386" r:id="rId13"/>
    <p:sldLayoutId id="2147484387" r:id="rId14"/>
    <p:sldLayoutId id="2147484388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98595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15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4040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FB7B518-B290-4901-86F7-FFC641254094}"/>
              </a:ext>
            </a:extLst>
          </p:cNvPr>
          <p:cNvSpPr/>
          <p:nvPr userDrawn="1"/>
        </p:nvSpPr>
        <p:spPr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4303DA1-8D5E-4DA5-83F2-C9E7C140499F}"/>
              </a:ext>
            </a:extLst>
          </p:cNvPr>
          <p:cNvSpPr/>
          <p:nvPr userDrawn="1"/>
        </p:nvSpPr>
        <p:spPr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9" name="Freeform 26">
            <a:extLst>
              <a:ext uri="{FF2B5EF4-FFF2-40B4-BE49-F238E27FC236}">
                <a16:creationId xmlns:a16="http://schemas.microsoft.com/office/drawing/2014/main" id="{98E1F5A9-8DD3-4D8F-9BD0-F574EF78427F}"/>
              </a:ext>
            </a:extLst>
          </p:cNvPr>
          <p:cNvSpPr>
            <a:spLocks noEditPoints="1"/>
          </p:cNvSpPr>
          <p:nvPr userDrawn="1"/>
        </p:nvSpPr>
        <p:spPr bwMode="auto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553972" y="6278400"/>
            <a:ext cx="996696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D80B48F0-09E0-44F8-AF08-326BE3E6A151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1302CA8-21EF-429E-9318-0B183DD6FD5E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3DEE77C-C925-467B-9B7F-73DC4F343139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0A6A4AC-6C23-433A-8BD4-DDD2405376C3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188BD22-E2AC-465A-A4DB-97923DFA489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45BE7CA-5360-4460-A111-0C43C6AC925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F13BCEEA-8547-4F57-9864-49E13A4FA4AA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355CCE4-46B9-406F-9C89-CE19ED7FAD0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E2E42C2-3216-4C4E-9DC3-B8F6391B30A3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805568E1-13C9-4A80-A46D-EC314745CBB6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2F24FE90-3257-4CA9-B2BC-530B255EE277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10CEF9E-B62B-48A3-B5A5-AFC61666791B}"/>
              </a:ext>
            </a:extLst>
          </p:cNvPr>
          <p:cNvGrpSpPr/>
          <p:nvPr userDrawn="1"/>
        </p:nvGrpSpPr>
        <p:grpSpPr>
          <a:xfrm>
            <a:off x="10317304" y="3150831"/>
            <a:ext cx="1251160" cy="958286"/>
            <a:chOff x="10162879" y="3243772"/>
            <a:chExt cx="12511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357DF850-D639-40D9-AED0-86BD202F8F48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063A11C-50DC-49AB-9AF8-BAFEED66374A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EEB202F-873B-4DF3-92F5-75A86D5B53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9E2ACDBD-E228-4A87-A9D4-9FB2A560C7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DDA8789-1BCF-4A66-88A3-DC16FCF15A1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18CD4BCD-CFE7-490B-9540-0EC0E7801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8E8BD48-1F10-4206-8CA9-1E6376480F9B}"/>
              </a:ext>
            </a:extLst>
          </p:cNvPr>
          <p:cNvGrpSpPr/>
          <p:nvPr userDrawn="1"/>
        </p:nvGrpSpPr>
        <p:grpSpPr>
          <a:xfrm>
            <a:off x="10684859" y="1146588"/>
            <a:ext cx="880149" cy="1731859"/>
            <a:chOff x="7716535" y="2630582"/>
            <a:chExt cx="8801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DD19AE3-3CF5-43DB-AF82-95B138584B59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8E977E51-023E-4F0B-A1C9-F6C22ECD70B6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7B6181E1-7253-40C3-A70A-234C1D5414A3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C15D05A0-5C13-4B87-9A31-B5081CB0F97B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35E9C9D-2C84-46CA-91E9-A055E55D8142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A9B6CE4-D7CD-4232-90E1-62A96B0939D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FC98828-7FAC-493F-B72C-C2E5E419DC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002FC8DF-E5C7-4F1C-B5CA-E0754AF3AB1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F46E0E-BECE-4E87-B745-151712679E3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971ACE65-ED43-4F64-8599-4E0627F5F2E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EF300CE1-EFBF-4A8A-B583-D7BD09F5749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597BC257-B36E-49AF-9B86-9B1520239FE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1F74EA7B-031D-4EB3-84EE-630E4F7FA19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60204038-38DD-4B38-8552-298118F201C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CC6876E-483C-4298-8A19-319F06ECD59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B3601307-EEA1-47D0-90F5-CBD18D5E895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C91D6DD-1B02-4BE5-A71B-5DFCAC98762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B54135-68F5-482F-8CD6-5A470DF5CB9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825F5665-4E52-4D72-9D9E-E06CF3098AB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049E4C1-3D91-414E-94CA-8A27E88D7F6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ABF12EF8-E923-43EC-92B0-185E953BE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84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5" r:id="rId1"/>
    <p:sldLayoutId id="2147484406" r:id="rId2"/>
    <p:sldLayoutId id="2147484407" r:id="rId3"/>
    <p:sldLayoutId id="2147484408" r:id="rId4"/>
    <p:sldLayoutId id="2147484409" r:id="rId5"/>
    <p:sldLayoutId id="2147484410" r:id="rId6"/>
    <p:sldLayoutId id="2147484411" r:id="rId7"/>
    <p:sldLayoutId id="2147484412" r:id="rId8"/>
    <p:sldLayoutId id="2147484413" r:id="rId9"/>
    <p:sldLayoutId id="2147484414" r:id="rId10"/>
    <p:sldLayoutId id="2147484415" r:id="rId11"/>
    <p:sldLayoutId id="2147484416" r:id="rId12"/>
    <p:sldLayoutId id="2147484417" r:id="rId13"/>
    <p:sldLayoutId id="21474844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8148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8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982CFB-801E-4DA4-BAAB-1E1DD55D462B}"/>
              </a:ext>
            </a:extLst>
          </p:cNvPr>
          <p:cNvSpPr/>
          <p:nvPr userDrawn="1"/>
        </p:nvSpPr>
        <p:spPr bwMode="ltGray">
          <a:xfrm>
            <a:off x="0" y="201459"/>
            <a:ext cx="11552914" cy="8480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6D45339-F14A-453E-9DD4-E40A2E36D242}"/>
              </a:ext>
            </a:extLst>
          </p:cNvPr>
          <p:cNvSpPr/>
          <p:nvPr userDrawn="1"/>
        </p:nvSpPr>
        <p:spPr bwMode="ltGray">
          <a:xfrm>
            <a:off x="10926442" y="128976"/>
            <a:ext cx="973650" cy="973650"/>
          </a:xfrm>
          <a:prstGeom prst="ellipse">
            <a:avLst/>
          </a:prstGeom>
          <a:solidFill>
            <a:schemeClr val="bg1"/>
          </a:solidFill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50" name="Freeform 26">
            <a:extLst>
              <a:ext uri="{FF2B5EF4-FFF2-40B4-BE49-F238E27FC236}">
                <a16:creationId xmlns:a16="http://schemas.microsoft.com/office/drawing/2014/main" id="{1F94D584-F1F8-4524-B360-FCDAEA9C0E74}"/>
              </a:ext>
            </a:extLst>
          </p:cNvPr>
          <p:cNvSpPr>
            <a:spLocks noEditPoints="1"/>
          </p:cNvSpPr>
          <p:nvPr userDrawn="1"/>
        </p:nvSpPr>
        <p:spPr bwMode="ltGray">
          <a:xfrm rot="569948">
            <a:off x="11029801" y="445094"/>
            <a:ext cx="784709" cy="341414"/>
          </a:xfrm>
          <a:custGeom>
            <a:avLst/>
            <a:gdLst>
              <a:gd name="T0" fmla="*/ 525 w 724"/>
              <a:gd name="T1" fmla="*/ 305 h 315"/>
              <a:gd name="T2" fmla="*/ 547 w 724"/>
              <a:gd name="T3" fmla="*/ 294 h 315"/>
              <a:gd name="T4" fmla="*/ 557 w 724"/>
              <a:gd name="T5" fmla="*/ 266 h 315"/>
              <a:gd name="T6" fmla="*/ 562 w 724"/>
              <a:gd name="T7" fmla="*/ 253 h 315"/>
              <a:gd name="T8" fmla="*/ 570 w 724"/>
              <a:gd name="T9" fmla="*/ 245 h 315"/>
              <a:gd name="T10" fmla="*/ 604 w 724"/>
              <a:gd name="T11" fmla="*/ 213 h 315"/>
              <a:gd name="T12" fmla="*/ 628 w 724"/>
              <a:gd name="T13" fmla="*/ 204 h 315"/>
              <a:gd name="T14" fmla="*/ 641 w 724"/>
              <a:gd name="T15" fmla="*/ 200 h 315"/>
              <a:gd name="T16" fmla="*/ 658 w 724"/>
              <a:gd name="T17" fmla="*/ 194 h 315"/>
              <a:gd name="T18" fmla="*/ 668 w 724"/>
              <a:gd name="T19" fmla="*/ 170 h 315"/>
              <a:gd name="T20" fmla="*/ 677 w 724"/>
              <a:gd name="T21" fmla="*/ 164 h 315"/>
              <a:gd name="T22" fmla="*/ 651 w 724"/>
              <a:gd name="T23" fmla="*/ 158 h 315"/>
              <a:gd name="T24" fmla="*/ 713 w 724"/>
              <a:gd name="T25" fmla="*/ 74 h 315"/>
              <a:gd name="T26" fmla="*/ 722 w 724"/>
              <a:gd name="T27" fmla="*/ 115 h 315"/>
              <a:gd name="T28" fmla="*/ 694 w 724"/>
              <a:gd name="T29" fmla="*/ 61 h 315"/>
              <a:gd name="T30" fmla="*/ 668 w 724"/>
              <a:gd name="T31" fmla="*/ 2 h 315"/>
              <a:gd name="T32" fmla="*/ 683 w 724"/>
              <a:gd name="T33" fmla="*/ 29 h 315"/>
              <a:gd name="T34" fmla="*/ 688 w 724"/>
              <a:gd name="T35" fmla="*/ 44 h 315"/>
              <a:gd name="T36" fmla="*/ 669 w 724"/>
              <a:gd name="T37" fmla="*/ 0 h 315"/>
              <a:gd name="T38" fmla="*/ 327 w 724"/>
              <a:gd name="T39" fmla="*/ 61 h 315"/>
              <a:gd name="T40" fmla="*/ 449 w 724"/>
              <a:gd name="T41" fmla="*/ 42 h 315"/>
              <a:gd name="T42" fmla="*/ 568 w 724"/>
              <a:gd name="T43" fmla="*/ 19 h 315"/>
              <a:gd name="T44" fmla="*/ 666 w 724"/>
              <a:gd name="T45" fmla="*/ 15 h 315"/>
              <a:gd name="T46" fmla="*/ 673 w 724"/>
              <a:gd name="T47" fmla="*/ 34 h 315"/>
              <a:gd name="T48" fmla="*/ 658 w 724"/>
              <a:gd name="T49" fmla="*/ 34 h 315"/>
              <a:gd name="T50" fmla="*/ 653 w 724"/>
              <a:gd name="T51" fmla="*/ 49 h 315"/>
              <a:gd name="T52" fmla="*/ 617 w 724"/>
              <a:gd name="T53" fmla="*/ 64 h 315"/>
              <a:gd name="T54" fmla="*/ 615 w 724"/>
              <a:gd name="T55" fmla="*/ 74 h 315"/>
              <a:gd name="T56" fmla="*/ 668 w 724"/>
              <a:gd name="T57" fmla="*/ 66 h 315"/>
              <a:gd name="T58" fmla="*/ 677 w 724"/>
              <a:gd name="T59" fmla="*/ 91 h 315"/>
              <a:gd name="T60" fmla="*/ 688 w 724"/>
              <a:gd name="T61" fmla="*/ 61 h 315"/>
              <a:gd name="T62" fmla="*/ 685 w 724"/>
              <a:gd name="T63" fmla="*/ 104 h 315"/>
              <a:gd name="T64" fmla="*/ 656 w 724"/>
              <a:gd name="T65" fmla="*/ 126 h 315"/>
              <a:gd name="T66" fmla="*/ 647 w 724"/>
              <a:gd name="T67" fmla="*/ 126 h 315"/>
              <a:gd name="T68" fmla="*/ 636 w 724"/>
              <a:gd name="T69" fmla="*/ 121 h 315"/>
              <a:gd name="T70" fmla="*/ 622 w 724"/>
              <a:gd name="T71" fmla="*/ 113 h 315"/>
              <a:gd name="T72" fmla="*/ 628 w 724"/>
              <a:gd name="T73" fmla="*/ 125 h 315"/>
              <a:gd name="T74" fmla="*/ 600 w 724"/>
              <a:gd name="T75" fmla="*/ 126 h 315"/>
              <a:gd name="T76" fmla="*/ 624 w 724"/>
              <a:gd name="T77" fmla="*/ 136 h 315"/>
              <a:gd name="T78" fmla="*/ 639 w 724"/>
              <a:gd name="T79" fmla="*/ 136 h 315"/>
              <a:gd name="T80" fmla="*/ 639 w 724"/>
              <a:gd name="T81" fmla="*/ 145 h 315"/>
              <a:gd name="T82" fmla="*/ 632 w 724"/>
              <a:gd name="T83" fmla="*/ 157 h 315"/>
              <a:gd name="T84" fmla="*/ 637 w 724"/>
              <a:gd name="T85" fmla="*/ 158 h 315"/>
              <a:gd name="T86" fmla="*/ 624 w 724"/>
              <a:gd name="T87" fmla="*/ 175 h 315"/>
              <a:gd name="T88" fmla="*/ 617 w 724"/>
              <a:gd name="T89" fmla="*/ 179 h 315"/>
              <a:gd name="T90" fmla="*/ 647 w 724"/>
              <a:gd name="T91" fmla="*/ 175 h 315"/>
              <a:gd name="T92" fmla="*/ 662 w 724"/>
              <a:gd name="T93" fmla="*/ 181 h 315"/>
              <a:gd name="T94" fmla="*/ 643 w 724"/>
              <a:gd name="T95" fmla="*/ 198 h 315"/>
              <a:gd name="T96" fmla="*/ 609 w 724"/>
              <a:gd name="T97" fmla="*/ 209 h 315"/>
              <a:gd name="T98" fmla="*/ 585 w 724"/>
              <a:gd name="T99" fmla="*/ 222 h 315"/>
              <a:gd name="T100" fmla="*/ 579 w 724"/>
              <a:gd name="T101" fmla="*/ 234 h 315"/>
              <a:gd name="T102" fmla="*/ 551 w 724"/>
              <a:gd name="T103" fmla="*/ 294 h 315"/>
              <a:gd name="T104" fmla="*/ 538 w 724"/>
              <a:gd name="T105" fmla="*/ 302 h 315"/>
              <a:gd name="T106" fmla="*/ 500 w 724"/>
              <a:gd name="T107" fmla="*/ 311 h 315"/>
              <a:gd name="T108" fmla="*/ 410 w 724"/>
              <a:gd name="T109" fmla="*/ 247 h 315"/>
              <a:gd name="T110" fmla="*/ 297 w 724"/>
              <a:gd name="T111" fmla="*/ 234 h 315"/>
              <a:gd name="T112" fmla="*/ 197 w 724"/>
              <a:gd name="T113" fmla="*/ 221 h 315"/>
              <a:gd name="T114" fmla="*/ 112 w 724"/>
              <a:gd name="T115" fmla="*/ 247 h 315"/>
              <a:gd name="T116" fmla="*/ 1 w 724"/>
              <a:gd name="T117" fmla="*/ 245 h 315"/>
              <a:gd name="T118" fmla="*/ 81 w 724"/>
              <a:gd name="T119" fmla="*/ 183 h 315"/>
              <a:gd name="T120" fmla="*/ 131 w 724"/>
              <a:gd name="T121" fmla="*/ 147 h 315"/>
              <a:gd name="T122" fmla="*/ 195 w 724"/>
              <a:gd name="T123" fmla="*/ 9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4" h="315">
                <a:moveTo>
                  <a:pt x="500" y="315"/>
                </a:moveTo>
                <a:lnTo>
                  <a:pt x="498" y="315"/>
                </a:lnTo>
                <a:lnTo>
                  <a:pt x="502" y="311"/>
                </a:lnTo>
                <a:lnTo>
                  <a:pt x="504" y="313"/>
                </a:lnTo>
                <a:lnTo>
                  <a:pt x="500" y="315"/>
                </a:lnTo>
                <a:close/>
                <a:moveTo>
                  <a:pt x="508" y="309"/>
                </a:moveTo>
                <a:lnTo>
                  <a:pt x="504" y="311"/>
                </a:lnTo>
                <a:lnTo>
                  <a:pt x="508" y="309"/>
                </a:lnTo>
                <a:close/>
                <a:moveTo>
                  <a:pt x="545" y="303"/>
                </a:moveTo>
                <a:lnTo>
                  <a:pt x="547" y="302"/>
                </a:lnTo>
                <a:lnTo>
                  <a:pt x="547" y="303"/>
                </a:lnTo>
                <a:lnTo>
                  <a:pt x="545" y="305"/>
                </a:lnTo>
                <a:lnTo>
                  <a:pt x="545" y="303"/>
                </a:lnTo>
                <a:close/>
                <a:moveTo>
                  <a:pt x="511" y="307"/>
                </a:moveTo>
                <a:lnTo>
                  <a:pt x="506" y="313"/>
                </a:lnTo>
                <a:lnTo>
                  <a:pt x="508" y="309"/>
                </a:lnTo>
                <a:lnTo>
                  <a:pt x="511" y="307"/>
                </a:lnTo>
                <a:close/>
                <a:moveTo>
                  <a:pt x="540" y="302"/>
                </a:moveTo>
                <a:lnTo>
                  <a:pt x="542" y="302"/>
                </a:lnTo>
                <a:lnTo>
                  <a:pt x="542" y="303"/>
                </a:lnTo>
                <a:lnTo>
                  <a:pt x="540" y="303"/>
                </a:lnTo>
                <a:lnTo>
                  <a:pt x="540" y="302"/>
                </a:lnTo>
                <a:close/>
                <a:moveTo>
                  <a:pt x="525" y="303"/>
                </a:moveTo>
                <a:lnTo>
                  <a:pt x="525" y="305"/>
                </a:lnTo>
                <a:lnTo>
                  <a:pt x="517" y="307"/>
                </a:lnTo>
                <a:lnTo>
                  <a:pt x="513" y="307"/>
                </a:lnTo>
                <a:lnTo>
                  <a:pt x="517" y="305"/>
                </a:lnTo>
                <a:lnTo>
                  <a:pt x="525" y="303"/>
                </a:lnTo>
                <a:close/>
                <a:moveTo>
                  <a:pt x="530" y="302"/>
                </a:moveTo>
                <a:lnTo>
                  <a:pt x="538" y="303"/>
                </a:lnTo>
                <a:lnTo>
                  <a:pt x="540" y="302"/>
                </a:lnTo>
                <a:lnTo>
                  <a:pt x="540" y="303"/>
                </a:lnTo>
                <a:lnTo>
                  <a:pt x="543" y="303"/>
                </a:lnTo>
                <a:lnTo>
                  <a:pt x="538" y="303"/>
                </a:lnTo>
                <a:lnTo>
                  <a:pt x="532" y="303"/>
                </a:lnTo>
                <a:lnTo>
                  <a:pt x="525" y="305"/>
                </a:lnTo>
                <a:lnTo>
                  <a:pt x="530" y="303"/>
                </a:lnTo>
                <a:lnTo>
                  <a:pt x="528" y="303"/>
                </a:lnTo>
                <a:lnTo>
                  <a:pt x="530" y="302"/>
                </a:lnTo>
                <a:close/>
                <a:moveTo>
                  <a:pt x="549" y="298"/>
                </a:moveTo>
                <a:lnTo>
                  <a:pt x="549" y="300"/>
                </a:lnTo>
                <a:lnTo>
                  <a:pt x="549" y="298"/>
                </a:lnTo>
                <a:close/>
                <a:moveTo>
                  <a:pt x="545" y="296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close/>
                <a:moveTo>
                  <a:pt x="545" y="294"/>
                </a:moveTo>
                <a:lnTo>
                  <a:pt x="547" y="294"/>
                </a:lnTo>
                <a:lnTo>
                  <a:pt x="547" y="296"/>
                </a:lnTo>
                <a:lnTo>
                  <a:pt x="545" y="296"/>
                </a:lnTo>
                <a:lnTo>
                  <a:pt x="545" y="294"/>
                </a:lnTo>
                <a:close/>
                <a:moveTo>
                  <a:pt x="547" y="279"/>
                </a:moveTo>
                <a:lnTo>
                  <a:pt x="547" y="281"/>
                </a:lnTo>
                <a:lnTo>
                  <a:pt x="547" y="279"/>
                </a:lnTo>
                <a:close/>
                <a:moveTo>
                  <a:pt x="555" y="271"/>
                </a:moveTo>
                <a:lnTo>
                  <a:pt x="555" y="273"/>
                </a:lnTo>
                <a:lnTo>
                  <a:pt x="553" y="283"/>
                </a:lnTo>
                <a:lnTo>
                  <a:pt x="551" y="283"/>
                </a:lnTo>
                <a:lnTo>
                  <a:pt x="553" y="275"/>
                </a:lnTo>
                <a:lnTo>
                  <a:pt x="555" y="271"/>
                </a:lnTo>
                <a:close/>
                <a:moveTo>
                  <a:pt x="553" y="271"/>
                </a:moveTo>
                <a:lnTo>
                  <a:pt x="555" y="270"/>
                </a:lnTo>
                <a:lnTo>
                  <a:pt x="555" y="271"/>
                </a:lnTo>
                <a:lnTo>
                  <a:pt x="553" y="273"/>
                </a:lnTo>
                <a:lnTo>
                  <a:pt x="553" y="271"/>
                </a:lnTo>
                <a:close/>
                <a:moveTo>
                  <a:pt x="557" y="264"/>
                </a:moveTo>
                <a:lnTo>
                  <a:pt x="558" y="266"/>
                </a:lnTo>
                <a:lnTo>
                  <a:pt x="555" y="271"/>
                </a:lnTo>
                <a:lnTo>
                  <a:pt x="557" y="268"/>
                </a:lnTo>
                <a:lnTo>
                  <a:pt x="557" y="266"/>
                </a:lnTo>
                <a:lnTo>
                  <a:pt x="555" y="268"/>
                </a:lnTo>
                <a:lnTo>
                  <a:pt x="557" y="266"/>
                </a:lnTo>
                <a:lnTo>
                  <a:pt x="557" y="264"/>
                </a:lnTo>
                <a:close/>
                <a:moveTo>
                  <a:pt x="557" y="262"/>
                </a:moveTo>
                <a:lnTo>
                  <a:pt x="558" y="262"/>
                </a:lnTo>
                <a:lnTo>
                  <a:pt x="558" y="264"/>
                </a:lnTo>
                <a:lnTo>
                  <a:pt x="557" y="264"/>
                </a:lnTo>
                <a:lnTo>
                  <a:pt x="557" y="262"/>
                </a:lnTo>
                <a:close/>
                <a:moveTo>
                  <a:pt x="560" y="260"/>
                </a:moveTo>
                <a:lnTo>
                  <a:pt x="558" y="264"/>
                </a:lnTo>
                <a:lnTo>
                  <a:pt x="558" y="258"/>
                </a:lnTo>
                <a:lnTo>
                  <a:pt x="560" y="258"/>
                </a:lnTo>
                <a:lnTo>
                  <a:pt x="560" y="260"/>
                </a:lnTo>
                <a:lnTo>
                  <a:pt x="562" y="258"/>
                </a:lnTo>
                <a:lnTo>
                  <a:pt x="560" y="260"/>
                </a:lnTo>
                <a:close/>
                <a:moveTo>
                  <a:pt x="560" y="256"/>
                </a:moveTo>
                <a:lnTo>
                  <a:pt x="560" y="254"/>
                </a:lnTo>
                <a:lnTo>
                  <a:pt x="562" y="258"/>
                </a:lnTo>
                <a:lnTo>
                  <a:pt x="560" y="258"/>
                </a:lnTo>
                <a:lnTo>
                  <a:pt x="560" y="256"/>
                </a:lnTo>
                <a:close/>
                <a:moveTo>
                  <a:pt x="564" y="253"/>
                </a:moveTo>
                <a:lnTo>
                  <a:pt x="562" y="258"/>
                </a:lnTo>
                <a:lnTo>
                  <a:pt x="562" y="256"/>
                </a:lnTo>
                <a:lnTo>
                  <a:pt x="560" y="254"/>
                </a:lnTo>
                <a:lnTo>
                  <a:pt x="562" y="254"/>
                </a:lnTo>
                <a:lnTo>
                  <a:pt x="562" y="253"/>
                </a:lnTo>
                <a:lnTo>
                  <a:pt x="564" y="253"/>
                </a:lnTo>
                <a:close/>
                <a:moveTo>
                  <a:pt x="566" y="249"/>
                </a:moveTo>
                <a:lnTo>
                  <a:pt x="568" y="249"/>
                </a:lnTo>
                <a:lnTo>
                  <a:pt x="564" y="251"/>
                </a:lnTo>
                <a:lnTo>
                  <a:pt x="566" y="249"/>
                </a:lnTo>
                <a:close/>
                <a:moveTo>
                  <a:pt x="566" y="247"/>
                </a:moveTo>
                <a:lnTo>
                  <a:pt x="570" y="247"/>
                </a:lnTo>
                <a:lnTo>
                  <a:pt x="566" y="249"/>
                </a:lnTo>
                <a:lnTo>
                  <a:pt x="566" y="247"/>
                </a:lnTo>
                <a:close/>
                <a:moveTo>
                  <a:pt x="575" y="238"/>
                </a:moveTo>
                <a:lnTo>
                  <a:pt x="577" y="238"/>
                </a:lnTo>
                <a:lnTo>
                  <a:pt x="575" y="238"/>
                </a:lnTo>
                <a:close/>
                <a:moveTo>
                  <a:pt x="587" y="226"/>
                </a:moveTo>
                <a:lnTo>
                  <a:pt x="589" y="230"/>
                </a:lnTo>
                <a:lnTo>
                  <a:pt x="585" y="232"/>
                </a:lnTo>
                <a:lnTo>
                  <a:pt x="577" y="238"/>
                </a:lnTo>
                <a:lnTo>
                  <a:pt x="572" y="243"/>
                </a:lnTo>
                <a:lnTo>
                  <a:pt x="570" y="245"/>
                </a:lnTo>
                <a:lnTo>
                  <a:pt x="566" y="253"/>
                </a:lnTo>
                <a:lnTo>
                  <a:pt x="564" y="253"/>
                </a:lnTo>
                <a:lnTo>
                  <a:pt x="570" y="245"/>
                </a:lnTo>
                <a:lnTo>
                  <a:pt x="572" y="245"/>
                </a:lnTo>
                <a:lnTo>
                  <a:pt x="572" y="243"/>
                </a:lnTo>
                <a:lnTo>
                  <a:pt x="570" y="245"/>
                </a:lnTo>
                <a:lnTo>
                  <a:pt x="572" y="243"/>
                </a:lnTo>
                <a:lnTo>
                  <a:pt x="570" y="243"/>
                </a:lnTo>
                <a:lnTo>
                  <a:pt x="572" y="241"/>
                </a:lnTo>
                <a:lnTo>
                  <a:pt x="573" y="243"/>
                </a:lnTo>
                <a:lnTo>
                  <a:pt x="575" y="238"/>
                </a:lnTo>
                <a:lnTo>
                  <a:pt x="575" y="239"/>
                </a:lnTo>
                <a:lnTo>
                  <a:pt x="579" y="236"/>
                </a:lnTo>
                <a:lnTo>
                  <a:pt x="577" y="236"/>
                </a:lnTo>
                <a:lnTo>
                  <a:pt x="581" y="236"/>
                </a:lnTo>
                <a:lnTo>
                  <a:pt x="579" y="234"/>
                </a:lnTo>
                <a:lnTo>
                  <a:pt x="587" y="230"/>
                </a:lnTo>
                <a:lnTo>
                  <a:pt x="589" y="228"/>
                </a:lnTo>
                <a:lnTo>
                  <a:pt x="587" y="226"/>
                </a:lnTo>
                <a:close/>
                <a:moveTo>
                  <a:pt x="596" y="221"/>
                </a:moveTo>
                <a:lnTo>
                  <a:pt x="590" y="226"/>
                </a:lnTo>
                <a:lnTo>
                  <a:pt x="589" y="228"/>
                </a:lnTo>
                <a:lnTo>
                  <a:pt x="587" y="226"/>
                </a:lnTo>
                <a:lnTo>
                  <a:pt x="590" y="226"/>
                </a:lnTo>
                <a:lnTo>
                  <a:pt x="596" y="221"/>
                </a:lnTo>
                <a:close/>
                <a:moveTo>
                  <a:pt x="598" y="217"/>
                </a:moveTo>
                <a:lnTo>
                  <a:pt x="600" y="217"/>
                </a:lnTo>
                <a:lnTo>
                  <a:pt x="596" y="221"/>
                </a:lnTo>
                <a:lnTo>
                  <a:pt x="598" y="217"/>
                </a:lnTo>
                <a:close/>
                <a:moveTo>
                  <a:pt x="604" y="213"/>
                </a:moveTo>
                <a:lnTo>
                  <a:pt x="604" y="215"/>
                </a:lnTo>
                <a:lnTo>
                  <a:pt x="600" y="217"/>
                </a:lnTo>
                <a:lnTo>
                  <a:pt x="600" y="215"/>
                </a:lnTo>
                <a:lnTo>
                  <a:pt x="604" y="211"/>
                </a:lnTo>
                <a:lnTo>
                  <a:pt x="604" y="213"/>
                </a:lnTo>
                <a:close/>
                <a:moveTo>
                  <a:pt x="604" y="209"/>
                </a:moveTo>
                <a:lnTo>
                  <a:pt x="605" y="209"/>
                </a:lnTo>
                <a:lnTo>
                  <a:pt x="605" y="213"/>
                </a:lnTo>
                <a:lnTo>
                  <a:pt x="604" y="213"/>
                </a:lnTo>
                <a:lnTo>
                  <a:pt x="604" y="209"/>
                </a:lnTo>
                <a:close/>
                <a:moveTo>
                  <a:pt x="643" y="202"/>
                </a:moveTo>
                <a:lnTo>
                  <a:pt x="649" y="204"/>
                </a:lnTo>
                <a:lnTo>
                  <a:pt x="654" y="206"/>
                </a:lnTo>
                <a:lnTo>
                  <a:pt x="649" y="204"/>
                </a:lnTo>
                <a:lnTo>
                  <a:pt x="643" y="202"/>
                </a:lnTo>
                <a:lnTo>
                  <a:pt x="641" y="202"/>
                </a:lnTo>
                <a:lnTo>
                  <a:pt x="643" y="202"/>
                </a:lnTo>
                <a:close/>
                <a:moveTo>
                  <a:pt x="634" y="202"/>
                </a:moveTo>
                <a:lnTo>
                  <a:pt x="636" y="202"/>
                </a:lnTo>
                <a:lnTo>
                  <a:pt x="637" y="202"/>
                </a:lnTo>
                <a:lnTo>
                  <a:pt x="637" y="200"/>
                </a:lnTo>
                <a:lnTo>
                  <a:pt x="639" y="202"/>
                </a:lnTo>
                <a:lnTo>
                  <a:pt x="634" y="202"/>
                </a:lnTo>
                <a:lnTo>
                  <a:pt x="628" y="204"/>
                </a:lnTo>
                <a:lnTo>
                  <a:pt x="622" y="206"/>
                </a:lnTo>
                <a:lnTo>
                  <a:pt x="621" y="207"/>
                </a:lnTo>
                <a:lnTo>
                  <a:pt x="615" y="209"/>
                </a:lnTo>
                <a:lnTo>
                  <a:pt x="607" y="213"/>
                </a:lnTo>
                <a:lnTo>
                  <a:pt x="605" y="213"/>
                </a:lnTo>
                <a:lnTo>
                  <a:pt x="605" y="211"/>
                </a:lnTo>
                <a:lnTo>
                  <a:pt x="613" y="209"/>
                </a:lnTo>
                <a:lnTo>
                  <a:pt x="621" y="206"/>
                </a:lnTo>
                <a:lnTo>
                  <a:pt x="622" y="206"/>
                </a:lnTo>
                <a:lnTo>
                  <a:pt x="626" y="204"/>
                </a:lnTo>
                <a:lnTo>
                  <a:pt x="628" y="204"/>
                </a:lnTo>
                <a:lnTo>
                  <a:pt x="634" y="202"/>
                </a:lnTo>
                <a:close/>
                <a:moveTo>
                  <a:pt x="649" y="198"/>
                </a:moveTo>
                <a:lnTo>
                  <a:pt x="653" y="200"/>
                </a:lnTo>
                <a:lnTo>
                  <a:pt x="649" y="200"/>
                </a:lnTo>
                <a:lnTo>
                  <a:pt x="649" y="198"/>
                </a:lnTo>
                <a:close/>
                <a:moveTo>
                  <a:pt x="639" y="200"/>
                </a:moveTo>
                <a:lnTo>
                  <a:pt x="641" y="200"/>
                </a:lnTo>
                <a:lnTo>
                  <a:pt x="643" y="200"/>
                </a:lnTo>
                <a:lnTo>
                  <a:pt x="641" y="200"/>
                </a:lnTo>
                <a:lnTo>
                  <a:pt x="639" y="200"/>
                </a:lnTo>
                <a:close/>
                <a:moveTo>
                  <a:pt x="637" y="198"/>
                </a:moveTo>
                <a:lnTo>
                  <a:pt x="639" y="198"/>
                </a:lnTo>
                <a:lnTo>
                  <a:pt x="641" y="200"/>
                </a:lnTo>
                <a:lnTo>
                  <a:pt x="639" y="200"/>
                </a:lnTo>
                <a:lnTo>
                  <a:pt x="637" y="198"/>
                </a:lnTo>
                <a:close/>
                <a:moveTo>
                  <a:pt x="645" y="196"/>
                </a:moveTo>
                <a:lnTo>
                  <a:pt x="647" y="196"/>
                </a:lnTo>
                <a:lnTo>
                  <a:pt x="647" y="198"/>
                </a:lnTo>
                <a:lnTo>
                  <a:pt x="645" y="198"/>
                </a:lnTo>
                <a:lnTo>
                  <a:pt x="645" y="196"/>
                </a:lnTo>
                <a:close/>
                <a:moveTo>
                  <a:pt x="637" y="196"/>
                </a:moveTo>
                <a:lnTo>
                  <a:pt x="639" y="196"/>
                </a:lnTo>
                <a:lnTo>
                  <a:pt x="639" y="198"/>
                </a:lnTo>
                <a:lnTo>
                  <a:pt x="637" y="198"/>
                </a:lnTo>
                <a:lnTo>
                  <a:pt x="637" y="196"/>
                </a:lnTo>
                <a:close/>
                <a:moveTo>
                  <a:pt x="666" y="183"/>
                </a:moveTo>
                <a:lnTo>
                  <a:pt x="662" y="189"/>
                </a:lnTo>
                <a:lnTo>
                  <a:pt x="658" y="196"/>
                </a:lnTo>
                <a:lnTo>
                  <a:pt x="656" y="202"/>
                </a:lnTo>
                <a:lnTo>
                  <a:pt x="654" y="211"/>
                </a:lnTo>
                <a:lnTo>
                  <a:pt x="653" y="207"/>
                </a:lnTo>
                <a:lnTo>
                  <a:pt x="651" y="206"/>
                </a:lnTo>
                <a:lnTo>
                  <a:pt x="653" y="207"/>
                </a:lnTo>
                <a:lnTo>
                  <a:pt x="654" y="207"/>
                </a:lnTo>
                <a:lnTo>
                  <a:pt x="654" y="202"/>
                </a:lnTo>
                <a:lnTo>
                  <a:pt x="656" y="198"/>
                </a:lnTo>
                <a:lnTo>
                  <a:pt x="658" y="194"/>
                </a:lnTo>
                <a:lnTo>
                  <a:pt x="660" y="192"/>
                </a:lnTo>
                <a:lnTo>
                  <a:pt x="658" y="192"/>
                </a:lnTo>
                <a:lnTo>
                  <a:pt x="660" y="192"/>
                </a:lnTo>
                <a:lnTo>
                  <a:pt x="658" y="190"/>
                </a:lnTo>
                <a:lnTo>
                  <a:pt x="660" y="190"/>
                </a:lnTo>
                <a:lnTo>
                  <a:pt x="662" y="190"/>
                </a:lnTo>
                <a:lnTo>
                  <a:pt x="660" y="189"/>
                </a:lnTo>
                <a:lnTo>
                  <a:pt x="662" y="189"/>
                </a:lnTo>
                <a:lnTo>
                  <a:pt x="660" y="187"/>
                </a:lnTo>
                <a:lnTo>
                  <a:pt x="662" y="189"/>
                </a:lnTo>
                <a:lnTo>
                  <a:pt x="666" y="181"/>
                </a:lnTo>
                <a:lnTo>
                  <a:pt x="666" y="179"/>
                </a:lnTo>
                <a:lnTo>
                  <a:pt x="666" y="181"/>
                </a:lnTo>
                <a:lnTo>
                  <a:pt x="666" y="183"/>
                </a:lnTo>
                <a:close/>
                <a:moveTo>
                  <a:pt x="666" y="164"/>
                </a:moveTo>
                <a:lnTo>
                  <a:pt x="668" y="164"/>
                </a:lnTo>
                <a:lnTo>
                  <a:pt x="668" y="166"/>
                </a:lnTo>
                <a:lnTo>
                  <a:pt x="666" y="164"/>
                </a:lnTo>
                <a:close/>
                <a:moveTo>
                  <a:pt x="662" y="162"/>
                </a:moveTo>
                <a:lnTo>
                  <a:pt x="666" y="164"/>
                </a:lnTo>
                <a:lnTo>
                  <a:pt x="664" y="162"/>
                </a:lnTo>
                <a:lnTo>
                  <a:pt x="666" y="166"/>
                </a:lnTo>
                <a:lnTo>
                  <a:pt x="668" y="168"/>
                </a:lnTo>
                <a:lnTo>
                  <a:pt x="668" y="170"/>
                </a:lnTo>
                <a:lnTo>
                  <a:pt x="668" y="168"/>
                </a:lnTo>
                <a:lnTo>
                  <a:pt x="668" y="170"/>
                </a:lnTo>
                <a:lnTo>
                  <a:pt x="668" y="172"/>
                </a:lnTo>
                <a:lnTo>
                  <a:pt x="664" y="172"/>
                </a:lnTo>
                <a:lnTo>
                  <a:pt x="660" y="174"/>
                </a:lnTo>
                <a:lnTo>
                  <a:pt x="660" y="170"/>
                </a:lnTo>
                <a:lnTo>
                  <a:pt x="658" y="168"/>
                </a:lnTo>
                <a:lnTo>
                  <a:pt x="666" y="170"/>
                </a:lnTo>
                <a:lnTo>
                  <a:pt x="660" y="162"/>
                </a:lnTo>
                <a:lnTo>
                  <a:pt x="664" y="164"/>
                </a:lnTo>
                <a:lnTo>
                  <a:pt x="662" y="162"/>
                </a:lnTo>
                <a:close/>
                <a:moveTo>
                  <a:pt x="685" y="153"/>
                </a:moveTo>
                <a:lnTo>
                  <a:pt x="686" y="155"/>
                </a:lnTo>
                <a:lnTo>
                  <a:pt x="681" y="158"/>
                </a:lnTo>
                <a:lnTo>
                  <a:pt x="677" y="166"/>
                </a:lnTo>
                <a:lnTo>
                  <a:pt x="671" y="174"/>
                </a:lnTo>
                <a:lnTo>
                  <a:pt x="668" y="179"/>
                </a:lnTo>
                <a:lnTo>
                  <a:pt x="666" y="179"/>
                </a:lnTo>
                <a:lnTo>
                  <a:pt x="668" y="175"/>
                </a:lnTo>
                <a:lnTo>
                  <a:pt x="669" y="177"/>
                </a:lnTo>
                <a:lnTo>
                  <a:pt x="673" y="170"/>
                </a:lnTo>
                <a:lnTo>
                  <a:pt x="675" y="168"/>
                </a:lnTo>
                <a:lnTo>
                  <a:pt x="675" y="166"/>
                </a:lnTo>
                <a:lnTo>
                  <a:pt x="677" y="164"/>
                </a:lnTo>
                <a:lnTo>
                  <a:pt x="679" y="160"/>
                </a:lnTo>
                <a:lnTo>
                  <a:pt x="681" y="160"/>
                </a:lnTo>
                <a:lnTo>
                  <a:pt x="681" y="158"/>
                </a:lnTo>
                <a:lnTo>
                  <a:pt x="683" y="157"/>
                </a:lnTo>
                <a:lnTo>
                  <a:pt x="683" y="155"/>
                </a:lnTo>
                <a:lnTo>
                  <a:pt x="683" y="158"/>
                </a:lnTo>
                <a:lnTo>
                  <a:pt x="685" y="153"/>
                </a:lnTo>
                <a:close/>
                <a:moveTo>
                  <a:pt x="651" y="158"/>
                </a:moveTo>
                <a:lnTo>
                  <a:pt x="653" y="160"/>
                </a:lnTo>
                <a:lnTo>
                  <a:pt x="654" y="164"/>
                </a:lnTo>
                <a:lnTo>
                  <a:pt x="654" y="166"/>
                </a:lnTo>
                <a:lnTo>
                  <a:pt x="654" y="170"/>
                </a:lnTo>
                <a:lnTo>
                  <a:pt x="651" y="172"/>
                </a:lnTo>
                <a:lnTo>
                  <a:pt x="651" y="168"/>
                </a:lnTo>
                <a:lnTo>
                  <a:pt x="649" y="166"/>
                </a:lnTo>
                <a:lnTo>
                  <a:pt x="651" y="166"/>
                </a:lnTo>
                <a:lnTo>
                  <a:pt x="649" y="166"/>
                </a:lnTo>
                <a:lnTo>
                  <a:pt x="649" y="164"/>
                </a:lnTo>
                <a:lnTo>
                  <a:pt x="651" y="162"/>
                </a:lnTo>
                <a:lnTo>
                  <a:pt x="653" y="164"/>
                </a:lnTo>
                <a:lnTo>
                  <a:pt x="651" y="162"/>
                </a:lnTo>
                <a:lnTo>
                  <a:pt x="653" y="162"/>
                </a:lnTo>
                <a:lnTo>
                  <a:pt x="649" y="162"/>
                </a:lnTo>
                <a:lnTo>
                  <a:pt x="651" y="158"/>
                </a:lnTo>
                <a:close/>
                <a:moveTo>
                  <a:pt x="703" y="138"/>
                </a:moveTo>
                <a:lnTo>
                  <a:pt x="705" y="136"/>
                </a:lnTo>
                <a:lnTo>
                  <a:pt x="705" y="138"/>
                </a:lnTo>
                <a:lnTo>
                  <a:pt x="703" y="138"/>
                </a:lnTo>
                <a:lnTo>
                  <a:pt x="696" y="143"/>
                </a:lnTo>
                <a:lnTo>
                  <a:pt x="692" y="147"/>
                </a:lnTo>
                <a:lnTo>
                  <a:pt x="688" y="151"/>
                </a:lnTo>
                <a:lnTo>
                  <a:pt x="688" y="153"/>
                </a:lnTo>
                <a:lnTo>
                  <a:pt x="688" y="147"/>
                </a:lnTo>
                <a:lnTo>
                  <a:pt x="690" y="147"/>
                </a:lnTo>
                <a:lnTo>
                  <a:pt x="696" y="143"/>
                </a:lnTo>
                <a:lnTo>
                  <a:pt x="703" y="138"/>
                </a:lnTo>
                <a:lnTo>
                  <a:pt x="703" y="136"/>
                </a:lnTo>
                <a:lnTo>
                  <a:pt x="703" y="138"/>
                </a:lnTo>
                <a:close/>
                <a:moveTo>
                  <a:pt x="660" y="130"/>
                </a:moveTo>
                <a:lnTo>
                  <a:pt x="662" y="130"/>
                </a:lnTo>
                <a:lnTo>
                  <a:pt x="662" y="132"/>
                </a:lnTo>
                <a:lnTo>
                  <a:pt x="660" y="132"/>
                </a:lnTo>
                <a:lnTo>
                  <a:pt x="660" y="130"/>
                </a:lnTo>
                <a:close/>
                <a:moveTo>
                  <a:pt x="653" y="130"/>
                </a:moveTo>
                <a:lnTo>
                  <a:pt x="654" y="130"/>
                </a:lnTo>
                <a:lnTo>
                  <a:pt x="653" y="132"/>
                </a:lnTo>
                <a:lnTo>
                  <a:pt x="653" y="130"/>
                </a:lnTo>
                <a:close/>
                <a:moveTo>
                  <a:pt x="713" y="74"/>
                </a:moveTo>
                <a:lnTo>
                  <a:pt x="716" y="76"/>
                </a:lnTo>
                <a:lnTo>
                  <a:pt x="718" y="79"/>
                </a:lnTo>
                <a:lnTo>
                  <a:pt x="720" y="83"/>
                </a:lnTo>
                <a:lnTo>
                  <a:pt x="722" y="93"/>
                </a:lnTo>
                <a:lnTo>
                  <a:pt x="722" y="94"/>
                </a:lnTo>
                <a:lnTo>
                  <a:pt x="722" y="102"/>
                </a:lnTo>
                <a:lnTo>
                  <a:pt x="724" y="110"/>
                </a:lnTo>
                <a:lnTo>
                  <a:pt x="724" y="119"/>
                </a:lnTo>
                <a:lnTo>
                  <a:pt x="724" y="126"/>
                </a:lnTo>
                <a:lnTo>
                  <a:pt x="724" y="130"/>
                </a:lnTo>
                <a:lnTo>
                  <a:pt x="722" y="128"/>
                </a:lnTo>
                <a:lnTo>
                  <a:pt x="718" y="128"/>
                </a:lnTo>
                <a:lnTo>
                  <a:pt x="715" y="130"/>
                </a:lnTo>
                <a:lnTo>
                  <a:pt x="707" y="136"/>
                </a:lnTo>
                <a:lnTo>
                  <a:pt x="705" y="136"/>
                </a:lnTo>
                <a:lnTo>
                  <a:pt x="711" y="134"/>
                </a:lnTo>
                <a:lnTo>
                  <a:pt x="711" y="130"/>
                </a:lnTo>
                <a:lnTo>
                  <a:pt x="711" y="132"/>
                </a:lnTo>
                <a:lnTo>
                  <a:pt x="715" y="130"/>
                </a:lnTo>
                <a:lnTo>
                  <a:pt x="718" y="126"/>
                </a:lnTo>
                <a:lnTo>
                  <a:pt x="724" y="125"/>
                </a:lnTo>
                <a:lnTo>
                  <a:pt x="722" y="115"/>
                </a:lnTo>
                <a:lnTo>
                  <a:pt x="724" y="115"/>
                </a:lnTo>
                <a:lnTo>
                  <a:pt x="722" y="115"/>
                </a:lnTo>
                <a:lnTo>
                  <a:pt x="724" y="113"/>
                </a:lnTo>
                <a:lnTo>
                  <a:pt x="722" y="106"/>
                </a:lnTo>
                <a:lnTo>
                  <a:pt x="722" y="98"/>
                </a:lnTo>
                <a:lnTo>
                  <a:pt x="722" y="96"/>
                </a:lnTo>
                <a:lnTo>
                  <a:pt x="722" y="93"/>
                </a:lnTo>
                <a:lnTo>
                  <a:pt x="720" y="87"/>
                </a:lnTo>
                <a:lnTo>
                  <a:pt x="718" y="85"/>
                </a:lnTo>
                <a:lnTo>
                  <a:pt x="718" y="83"/>
                </a:lnTo>
                <a:lnTo>
                  <a:pt x="718" y="81"/>
                </a:lnTo>
                <a:lnTo>
                  <a:pt x="716" y="81"/>
                </a:lnTo>
                <a:lnTo>
                  <a:pt x="716" y="79"/>
                </a:lnTo>
                <a:lnTo>
                  <a:pt x="716" y="76"/>
                </a:lnTo>
                <a:lnTo>
                  <a:pt x="713" y="74"/>
                </a:lnTo>
                <a:close/>
                <a:moveTo>
                  <a:pt x="696" y="59"/>
                </a:moveTo>
                <a:lnTo>
                  <a:pt x="700" y="61"/>
                </a:lnTo>
                <a:lnTo>
                  <a:pt x="700" y="62"/>
                </a:lnTo>
                <a:lnTo>
                  <a:pt x="701" y="61"/>
                </a:lnTo>
                <a:lnTo>
                  <a:pt x="705" y="66"/>
                </a:lnTo>
                <a:lnTo>
                  <a:pt x="701" y="64"/>
                </a:lnTo>
                <a:lnTo>
                  <a:pt x="705" y="68"/>
                </a:lnTo>
                <a:lnTo>
                  <a:pt x="703" y="70"/>
                </a:lnTo>
                <a:lnTo>
                  <a:pt x="701" y="70"/>
                </a:lnTo>
                <a:lnTo>
                  <a:pt x="700" y="64"/>
                </a:lnTo>
                <a:lnTo>
                  <a:pt x="694" y="61"/>
                </a:lnTo>
                <a:lnTo>
                  <a:pt x="696" y="59"/>
                </a:lnTo>
                <a:close/>
                <a:moveTo>
                  <a:pt x="681" y="59"/>
                </a:moveTo>
                <a:lnTo>
                  <a:pt x="681" y="61"/>
                </a:lnTo>
                <a:lnTo>
                  <a:pt x="679" y="61"/>
                </a:lnTo>
                <a:lnTo>
                  <a:pt x="679" y="62"/>
                </a:lnTo>
                <a:lnTo>
                  <a:pt x="675" y="61"/>
                </a:lnTo>
                <a:lnTo>
                  <a:pt x="681" y="59"/>
                </a:lnTo>
                <a:close/>
                <a:moveTo>
                  <a:pt x="694" y="51"/>
                </a:moveTo>
                <a:lnTo>
                  <a:pt x="696" y="53"/>
                </a:lnTo>
                <a:lnTo>
                  <a:pt x="692" y="53"/>
                </a:lnTo>
                <a:lnTo>
                  <a:pt x="692" y="51"/>
                </a:lnTo>
                <a:lnTo>
                  <a:pt x="694" y="51"/>
                </a:lnTo>
                <a:close/>
                <a:moveTo>
                  <a:pt x="609" y="38"/>
                </a:moveTo>
                <a:lnTo>
                  <a:pt x="609" y="40"/>
                </a:lnTo>
                <a:lnTo>
                  <a:pt x="609" y="38"/>
                </a:lnTo>
                <a:close/>
                <a:moveTo>
                  <a:pt x="677" y="21"/>
                </a:moveTo>
                <a:lnTo>
                  <a:pt x="679" y="23"/>
                </a:lnTo>
                <a:lnTo>
                  <a:pt x="677" y="23"/>
                </a:lnTo>
                <a:lnTo>
                  <a:pt x="679" y="25"/>
                </a:lnTo>
                <a:lnTo>
                  <a:pt x="677" y="25"/>
                </a:lnTo>
                <a:lnTo>
                  <a:pt x="677" y="23"/>
                </a:lnTo>
                <a:lnTo>
                  <a:pt x="675" y="23"/>
                </a:lnTo>
                <a:lnTo>
                  <a:pt x="677" y="21"/>
                </a:lnTo>
                <a:close/>
                <a:moveTo>
                  <a:pt x="668" y="2"/>
                </a:moveTo>
                <a:lnTo>
                  <a:pt x="669" y="0"/>
                </a:lnTo>
                <a:lnTo>
                  <a:pt x="669" y="4"/>
                </a:lnTo>
                <a:lnTo>
                  <a:pt x="668" y="4"/>
                </a:lnTo>
                <a:lnTo>
                  <a:pt x="668" y="2"/>
                </a:lnTo>
                <a:close/>
                <a:moveTo>
                  <a:pt x="666" y="0"/>
                </a:moveTo>
                <a:lnTo>
                  <a:pt x="666" y="2"/>
                </a:lnTo>
                <a:lnTo>
                  <a:pt x="666" y="0"/>
                </a:lnTo>
                <a:lnTo>
                  <a:pt x="668" y="6"/>
                </a:lnTo>
                <a:lnTo>
                  <a:pt x="668" y="8"/>
                </a:lnTo>
                <a:lnTo>
                  <a:pt x="664" y="6"/>
                </a:lnTo>
                <a:lnTo>
                  <a:pt x="662" y="8"/>
                </a:lnTo>
                <a:lnTo>
                  <a:pt x="662" y="4"/>
                </a:lnTo>
                <a:lnTo>
                  <a:pt x="660" y="4"/>
                </a:lnTo>
                <a:lnTo>
                  <a:pt x="658" y="2"/>
                </a:lnTo>
                <a:lnTo>
                  <a:pt x="660" y="2"/>
                </a:lnTo>
                <a:lnTo>
                  <a:pt x="662" y="2"/>
                </a:lnTo>
                <a:lnTo>
                  <a:pt x="662" y="0"/>
                </a:lnTo>
                <a:lnTo>
                  <a:pt x="666" y="0"/>
                </a:lnTo>
                <a:close/>
                <a:moveTo>
                  <a:pt x="669" y="0"/>
                </a:moveTo>
                <a:lnTo>
                  <a:pt x="671" y="4"/>
                </a:lnTo>
                <a:lnTo>
                  <a:pt x="675" y="14"/>
                </a:lnTo>
                <a:lnTo>
                  <a:pt x="677" y="19"/>
                </a:lnTo>
                <a:lnTo>
                  <a:pt x="679" y="21"/>
                </a:lnTo>
                <a:lnTo>
                  <a:pt x="683" y="29"/>
                </a:lnTo>
                <a:lnTo>
                  <a:pt x="686" y="34"/>
                </a:lnTo>
                <a:lnTo>
                  <a:pt x="688" y="38"/>
                </a:lnTo>
                <a:lnTo>
                  <a:pt x="690" y="42"/>
                </a:lnTo>
                <a:lnTo>
                  <a:pt x="694" y="46"/>
                </a:lnTo>
                <a:lnTo>
                  <a:pt x="698" y="49"/>
                </a:lnTo>
                <a:lnTo>
                  <a:pt x="701" y="55"/>
                </a:lnTo>
                <a:lnTo>
                  <a:pt x="705" y="61"/>
                </a:lnTo>
                <a:lnTo>
                  <a:pt x="707" y="64"/>
                </a:lnTo>
                <a:lnTo>
                  <a:pt x="713" y="72"/>
                </a:lnTo>
                <a:lnTo>
                  <a:pt x="713" y="74"/>
                </a:lnTo>
                <a:lnTo>
                  <a:pt x="711" y="70"/>
                </a:lnTo>
                <a:lnTo>
                  <a:pt x="709" y="68"/>
                </a:lnTo>
                <a:lnTo>
                  <a:pt x="705" y="66"/>
                </a:lnTo>
                <a:lnTo>
                  <a:pt x="705" y="62"/>
                </a:lnTo>
                <a:lnTo>
                  <a:pt x="703" y="62"/>
                </a:lnTo>
                <a:lnTo>
                  <a:pt x="703" y="61"/>
                </a:lnTo>
                <a:lnTo>
                  <a:pt x="700" y="55"/>
                </a:lnTo>
                <a:lnTo>
                  <a:pt x="698" y="55"/>
                </a:lnTo>
                <a:lnTo>
                  <a:pt x="696" y="53"/>
                </a:lnTo>
                <a:lnTo>
                  <a:pt x="696" y="51"/>
                </a:lnTo>
                <a:lnTo>
                  <a:pt x="694" y="47"/>
                </a:lnTo>
                <a:lnTo>
                  <a:pt x="690" y="49"/>
                </a:lnTo>
                <a:lnTo>
                  <a:pt x="688" y="42"/>
                </a:lnTo>
                <a:lnTo>
                  <a:pt x="688" y="44"/>
                </a:lnTo>
                <a:lnTo>
                  <a:pt x="688" y="40"/>
                </a:lnTo>
                <a:lnTo>
                  <a:pt x="686" y="36"/>
                </a:lnTo>
                <a:lnTo>
                  <a:pt x="685" y="30"/>
                </a:lnTo>
                <a:lnTo>
                  <a:pt x="683" y="30"/>
                </a:lnTo>
                <a:lnTo>
                  <a:pt x="681" y="29"/>
                </a:lnTo>
                <a:lnTo>
                  <a:pt x="683" y="29"/>
                </a:lnTo>
                <a:lnTo>
                  <a:pt x="681" y="25"/>
                </a:lnTo>
                <a:lnTo>
                  <a:pt x="679" y="25"/>
                </a:lnTo>
                <a:lnTo>
                  <a:pt x="679" y="23"/>
                </a:lnTo>
                <a:lnTo>
                  <a:pt x="677" y="19"/>
                </a:lnTo>
                <a:lnTo>
                  <a:pt x="677" y="17"/>
                </a:lnTo>
                <a:lnTo>
                  <a:pt x="675" y="17"/>
                </a:lnTo>
                <a:lnTo>
                  <a:pt x="675" y="15"/>
                </a:lnTo>
                <a:lnTo>
                  <a:pt x="675" y="14"/>
                </a:lnTo>
                <a:lnTo>
                  <a:pt x="675" y="12"/>
                </a:lnTo>
                <a:lnTo>
                  <a:pt x="671" y="10"/>
                </a:lnTo>
                <a:lnTo>
                  <a:pt x="671" y="8"/>
                </a:lnTo>
                <a:lnTo>
                  <a:pt x="669" y="8"/>
                </a:lnTo>
                <a:lnTo>
                  <a:pt x="669" y="6"/>
                </a:lnTo>
                <a:lnTo>
                  <a:pt x="671" y="6"/>
                </a:lnTo>
                <a:lnTo>
                  <a:pt x="669" y="2"/>
                </a:lnTo>
                <a:lnTo>
                  <a:pt x="669" y="0"/>
                </a:lnTo>
                <a:lnTo>
                  <a:pt x="668" y="0"/>
                </a:lnTo>
                <a:lnTo>
                  <a:pt x="669" y="0"/>
                </a:lnTo>
                <a:close/>
                <a:moveTo>
                  <a:pt x="199" y="74"/>
                </a:moveTo>
                <a:lnTo>
                  <a:pt x="205" y="74"/>
                </a:lnTo>
                <a:lnTo>
                  <a:pt x="212" y="74"/>
                </a:lnTo>
                <a:lnTo>
                  <a:pt x="216" y="74"/>
                </a:lnTo>
                <a:lnTo>
                  <a:pt x="224" y="72"/>
                </a:lnTo>
                <a:lnTo>
                  <a:pt x="231" y="72"/>
                </a:lnTo>
                <a:lnTo>
                  <a:pt x="233" y="72"/>
                </a:lnTo>
                <a:lnTo>
                  <a:pt x="240" y="70"/>
                </a:lnTo>
                <a:lnTo>
                  <a:pt x="246" y="70"/>
                </a:lnTo>
                <a:lnTo>
                  <a:pt x="250" y="70"/>
                </a:lnTo>
                <a:lnTo>
                  <a:pt x="254" y="70"/>
                </a:lnTo>
                <a:lnTo>
                  <a:pt x="259" y="68"/>
                </a:lnTo>
                <a:lnTo>
                  <a:pt x="267" y="68"/>
                </a:lnTo>
                <a:lnTo>
                  <a:pt x="271" y="66"/>
                </a:lnTo>
                <a:lnTo>
                  <a:pt x="278" y="66"/>
                </a:lnTo>
                <a:lnTo>
                  <a:pt x="282" y="66"/>
                </a:lnTo>
                <a:lnTo>
                  <a:pt x="286" y="66"/>
                </a:lnTo>
                <a:lnTo>
                  <a:pt x="287" y="64"/>
                </a:lnTo>
                <a:lnTo>
                  <a:pt x="295" y="64"/>
                </a:lnTo>
                <a:lnTo>
                  <a:pt x="297" y="64"/>
                </a:lnTo>
                <a:lnTo>
                  <a:pt x="304" y="64"/>
                </a:lnTo>
                <a:lnTo>
                  <a:pt x="312" y="62"/>
                </a:lnTo>
                <a:lnTo>
                  <a:pt x="318" y="62"/>
                </a:lnTo>
                <a:lnTo>
                  <a:pt x="327" y="61"/>
                </a:lnTo>
                <a:lnTo>
                  <a:pt x="333" y="61"/>
                </a:lnTo>
                <a:lnTo>
                  <a:pt x="336" y="59"/>
                </a:lnTo>
                <a:lnTo>
                  <a:pt x="342" y="59"/>
                </a:lnTo>
                <a:lnTo>
                  <a:pt x="346" y="59"/>
                </a:lnTo>
                <a:lnTo>
                  <a:pt x="351" y="57"/>
                </a:lnTo>
                <a:lnTo>
                  <a:pt x="353" y="57"/>
                </a:lnTo>
                <a:lnTo>
                  <a:pt x="355" y="57"/>
                </a:lnTo>
                <a:lnTo>
                  <a:pt x="363" y="55"/>
                </a:lnTo>
                <a:lnTo>
                  <a:pt x="367" y="55"/>
                </a:lnTo>
                <a:lnTo>
                  <a:pt x="376" y="53"/>
                </a:lnTo>
                <a:lnTo>
                  <a:pt x="380" y="53"/>
                </a:lnTo>
                <a:lnTo>
                  <a:pt x="385" y="51"/>
                </a:lnTo>
                <a:lnTo>
                  <a:pt x="387" y="51"/>
                </a:lnTo>
                <a:lnTo>
                  <a:pt x="389" y="51"/>
                </a:lnTo>
                <a:lnTo>
                  <a:pt x="397" y="49"/>
                </a:lnTo>
                <a:lnTo>
                  <a:pt x="400" y="49"/>
                </a:lnTo>
                <a:lnTo>
                  <a:pt x="406" y="47"/>
                </a:lnTo>
                <a:lnTo>
                  <a:pt x="412" y="47"/>
                </a:lnTo>
                <a:lnTo>
                  <a:pt x="419" y="46"/>
                </a:lnTo>
                <a:lnTo>
                  <a:pt x="425" y="46"/>
                </a:lnTo>
                <a:lnTo>
                  <a:pt x="430" y="44"/>
                </a:lnTo>
                <a:lnTo>
                  <a:pt x="436" y="44"/>
                </a:lnTo>
                <a:lnTo>
                  <a:pt x="444" y="42"/>
                </a:lnTo>
                <a:lnTo>
                  <a:pt x="449" y="42"/>
                </a:lnTo>
                <a:lnTo>
                  <a:pt x="457" y="40"/>
                </a:lnTo>
                <a:lnTo>
                  <a:pt x="461" y="40"/>
                </a:lnTo>
                <a:lnTo>
                  <a:pt x="462" y="38"/>
                </a:lnTo>
                <a:lnTo>
                  <a:pt x="464" y="38"/>
                </a:lnTo>
                <a:lnTo>
                  <a:pt x="468" y="38"/>
                </a:lnTo>
                <a:lnTo>
                  <a:pt x="470" y="38"/>
                </a:lnTo>
                <a:lnTo>
                  <a:pt x="478" y="36"/>
                </a:lnTo>
                <a:lnTo>
                  <a:pt x="487" y="34"/>
                </a:lnTo>
                <a:lnTo>
                  <a:pt x="491" y="34"/>
                </a:lnTo>
                <a:lnTo>
                  <a:pt x="500" y="32"/>
                </a:lnTo>
                <a:lnTo>
                  <a:pt x="508" y="30"/>
                </a:lnTo>
                <a:lnTo>
                  <a:pt x="510" y="30"/>
                </a:lnTo>
                <a:lnTo>
                  <a:pt x="519" y="29"/>
                </a:lnTo>
                <a:lnTo>
                  <a:pt x="521" y="29"/>
                </a:lnTo>
                <a:lnTo>
                  <a:pt x="528" y="27"/>
                </a:lnTo>
                <a:lnTo>
                  <a:pt x="530" y="27"/>
                </a:lnTo>
                <a:lnTo>
                  <a:pt x="538" y="25"/>
                </a:lnTo>
                <a:lnTo>
                  <a:pt x="543" y="25"/>
                </a:lnTo>
                <a:lnTo>
                  <a:pt x="549" y="23"/>
                </a:lnTo>
                <a:lnTo>
                  <a:pt x="551" y="23"/>
                </a:lnTo>
                <a:lnTo>
                  <a:pt x="555" y="23"/>
                </a:lnTo>
                <a:lnTo>
                  <a:pt x="562" y="21"/>
                </a:lnTo>
                <a:lnTo>
                  <a:pt x="566" y="19"/>
                </a:lnTo>
                <a:lnTo>
                  <a:pt x="568" y="19"/>
                </a:lnTo>
                <a:lnTo>
                  <a:pt x="572" y="19"/>
                </a:lnTo>
                <a:lnTo>
                  <a:pt x="579" y="17"/>
                </a:lnTo>
                <a:lnTo>
                  <a:pt x="585" y="17"/>
                </a:lnTo>
                <a:lnTo>
                  <a:pt x="585" y="15"/>
                </a:lnTo>
                <a:lnTo>
                  <a:pt x="589" y="15"/>
                </a:lnTo>
                <a:lnTo>
                  <a:pt x="594" y="14"/>
                </a:lnTo>
                <a:lnTo>
                  <a:pt x="600" y="14"/>
                </a:lnTo>
                <a:lnTo>
                  <a:pt x="605" y="12"/>
                </a:lnTo>
                <a:lnTo>
                  <a:pt x="609" y="12"/>
                </a:lnTo>
                <a:lnTo>
                  <a:pt x="613" y="10"/>
                </a:lnTo>
                <a:lnTo>
                  <a:pt x="615" y="10"/>
                </a:lnTo>
                <a:lnTo>
                  <a:pt x="621" y="10"/>
                </a:lnTo>
                <a:lnTo>
                  <a:pt x="628" y="8"/>
                </a:lnTo>
                <a:lnTo>
                  <a:pt x="634" y="6"/>
                </a:lnTo>
                <a:lnTo>
                  <a:pt x="643" y="4"/>
                </a:lnTo>
                <a:lnTo>
                  <a:pt x="649" y="4"/>
                </a:lnTo>
                <a:lnTo>
                  <a:pt x="656" y="2"/>
                </a:lnTo>
                <a:lnTo>
                  <a:pt x="658" y="6"/>
                </a:lnTo>
                <a:lnTo>
                  <a:pt x="654" y="6"/>
                </a:lnTo>
                <a:lnTo>
                  <a:pt x="654" y="8"/>
                </a:lnTo>
                <a:lnTo>
                  <a:pt x="656" y="8"/>
                </a:lnTo>
                <a:lnTo>
                  <a:pt x="660" y="12"/>
                </a:lnTo>
                <a:lnTo>
                  <a:pt x="664" y="14"/>
                </a:lnTo>
                <a:lnTo>
                  <a:pt x="666" y="15"/>
                </a:lnTo>
                <a:lnTo>
                  <a:pt x="664" y="14"/>
                </a:lnTo>
                <a:lnTo>
                  <a:pt x="662" y="15"/>
                </a:lnTo>
                <a:lnTo>
                  <a:pt x="668" y="21"/>
                </a:lnTo>
                <a:lnTo>
                  <a:pt x="668" y="19"/>
                </a:lnTo>
                <a:lnTo>
                  <a:pt x="666" y="17"/>
                </a:lnTo>
                <a:lnTo>
                  <a:pt x="668" y="17"/>
                </a:lnTo>
                <a:lnTo>
                  <a:pt x="666" y="15"/>
                </a:lnTo>
                <a:lnTo>
                  <a:pt x="668" y="14"/>
                </a:lnTo>
                <a:lnTo>
                  <a:pt x="669" y="17"/>
                </a:lnTo>
                <a:lnTo>
                  <a:pt x="668" y="19"/>
                </a:lnTo>
                <a:lnTo>
                  <a:pt x="673" y="27"/>
                </a:lnTo>
                <a:lnTo>
                  <a:pt x="675" y="27"/>
                </a:lnTo>
                <a:lnTo>
                  <a:pt x="675" y="29"/>
                </a:lnTo>
                <a:lnTo>
                  <a:pt x="675" y="27"/>
                </a:lnTo>
                <a:lnTo>
                  <a:pt x="675" y="30"/>
                </a:lnTo>
                <a:lnTo>
                  <a:pt x="681" y="34"/>
                </a:lnTo>
                <a:lnTo>
                  <a:pt x="679" y="34"/>
                </a:lnTo>
                <a:lnTo>
                  <a:pt x="681" y="38"/>
                </a:lnTo>
                <a:lnTo>
                  <a:pt x="681" y="40"/>
                </a:lnTo>
                <a:lnTo>
                  <a:pt x="685" y="42"/>
                </a:lnTo>
                <a:lnTo>
                  <a:pt x="685" y="47"/>
                </a:lnTo>
                <a:lnTo>
                  <a:pt x="679" y="44"/>
                </a:lnTo>
                <a:lnTo>
                  <a:pt x="679" y="40"/>
                </a:lnTo>
                <a:lnTo>
                  <a:pt x="673" y="34"/>
                </a:lnTo>
                <a:lnTo>
                  <a:pt x="673" y="30"/>
                </a:lnTo>
                <a:lnTo>
                  <a:pt x="669" y="30"/>
                </a:lnTo>
                <a:lnTo>
                  <a:pt x="669" y="29"/>
                </a:lnTo>
                <a:lnTo>
                  <a:pt x="668" y="30"/>
                </a:lnTo>
                <a:lnTo>
                  <a:pt x="669" y="27"/>
                </a:lnTo>
                <a:lnTo>
                  <a:pt x="669" y="29"/>
                </a:lnTo>
                <a:lnTo>
                  <a:pt x="668" y="27"/>
                </a:lnTo>
                <a:lnTo>
                  <a:pt x="668" y="25"/>
                </a:lnTo>
                <a:lnTo>
                  <a:pt x="664" y="25"/>
                </a:lnTo>
                <a:lnTo>
                  <a:pt x="666" y="27"/>
                </a:lnTo>
                <a:lnTo>
                  <a:pt x="664" y="29"/>
                </a:lnTo>
                <a:lnTo>
                  <a:pt x="666" y="27"/>
                </a:lnTo>
                <a:lnTo>
                  <a:pt x="668" y="29"/>
                </a:lnTo>
                <a:lnTo>
                  <a:pt x="669" y="29"/>
                </a:lnTo>
                <a:lnTo>
                  <a:pt x="668" y="30"/>
                </a:lnTo>
                <a:lnTo>
                  <a:pt x="669" y="36"/>
                </a:lnTo>
                <a:lnTo>
                  <a:pt x="668" y="34"/>
                </a:lnTo>
                <a:lnTo>
                  <a:pt x="668" y="38"/>
                </a:lnTo>
                <a:lnTo>
                  <a:pt x="668" y="36"/>
                </a:lnTo>
                <a:lnTo>
                  <a:pt x="669" y="38"/>
                </a:lnTo>
                <a:lnTo>
                  <a:pt x="673" y="40"/>
                </a:lnTo>
                <a:lnTo>
                  <a:pt x="666" y="38"/>
                </a:lnTo>
                <a:lnTo>
                  <a:pt x="662" y="34"/>
                </a:lnTo>
                <a:lnTo>
                  <a:pt x="658" y="34"/>
                </a:lnTo>
                <a:lnTo>
                  <a:pt x="654" y="30"/>
                </a:lnTo>
                <a:lnTo>
                  <a:pt x="647" y="30"/>
                </a:lnTo>
                <a:lnTo>
                  <a:pt x="649" y="30"/>
                </a:lnTo>
                <a:lnTo>
                  <a:pt x="647" y="29"/>
                </a:lnTo>
                <a:lnTo>
                  <a:pt x="647" y="30"/>
                </a:lnTo>
                <a:lnTo>
                  <a:pt x="654" y="34"/>
                </a:lnTo>
                <a:lnTo>
                  <a:pt x="656" y="36"/>
                </a:lnTo>
                <a:lnTo>
                  <a:pt x="656" y="38"/>
                </a:lnTo>
                <a:lnTo>
                  <a:pt x="654" y="38"/>
                </a:lnTo>
                <a:lnTo>
                  <a:pt x="660" y="38"/>
                </a:lnTo>
                <a:lnTo>
                  <a:pt x="662" y="44"/>
                </a:lnTo>
                <a:lnTo>
                  <a:pt x="660" y="46"/>
                </a:lnTo>
                <a:lnTo>
                  <a:pt x="656" y="46"/>
                </a:lnTo>
                <a:lnTo>
                  <a:pt x="656" y="44"/>
                </a:lnTo>
                <a:lnTo>
                  <a:pt x="654" y="46"/>
                </a:lnTo>
                <a:lnTo>
                  <a:pt x="658" y="46"/>
                </a:lnTo>
                <a:lnTo>
                  <a:pt x="653" y="47"/>
                </a:lnTo>
                <a:lnTo>
                  <a:pt x="645" y="44"/>
                </a:lnTo>
                <a:lnTo>
                  <a:pt x="643" y="40"/>
                </a:lnTo>
                <a:lnTo>
                  <a:pt x="645" y="44"/>
                </a:lnTo>
                <a:lnTo>
                  <a:pt x="643" y="44"/>
                </a:lnTo>
                <a:lnTo>
                  <a:pt x="645" y="44"/>
                </a:lnTo>
                <a:lnTo>
                  <a:pt x="649" y="49"/>
                </a:lnTo>
                <a:lnTo>
                  <a:pt x="653" y="49"/>
                </a:lnTo>
                <a:lnTo>
                  <a:pt x="649" y="51"/>
                </a:lnTo>
                <a:lnTo>
                  <a:pt x="647" y="51"/>
                </a:lnTo>
                <a:lnTo>
                  <a:pt x="639" y="49"/>
                </a:lnTo>
                <a:lnTo>
                  <a:pt x="637" y="49"/>
                </a:lnTo>
                <a:lnTo>
                  <a:pt x="636" y="46"/>
                </a:lnTo>
                <a:lnTo>
                  <a:pt x="634" y="47"/>
                </a:lnTo>
                <a:lnTo>
                  <a:pt x="630" y="44"/>
                </a:lnTo>
                <a:lnTo>
                  <a:pt x="628" y="46"/>
                </a:lnTo>
                <a:lnTo>
                  <a:pt x="632" y="47"/>
                </a:lnTo>
                <a:lnTo>
                  <a:pt x="637" y="51"/>
                </a:lnTo>
                <a:lnTo>
                  <a:pt x="639" y="51"/>
                </a:lnTo>
                <a:lnTo>
                  <a:pt x="643" y="53"/>
                </a:lnTo>
                <a:lnTo>
                  <a:pt x="636" y="57"/>
                </a:lnTo>
                <a:lnTo>
                  <a:pt x="634" y="53"/>
                </a:lnTo>
                <a:lnTo>
                  <a:pt x="636" y="57"/>
                </a:lnTo>
                <a:lnTo>
                  <a:pt x="630" y="55"/>
                </a:lnTo>
                <a:lnTo>
                  <a:pt x="628" y="57"/>
                </a:lnTo>
                <a:lnTo>
                  <a:pt x="630" y="57"/>
                </a:lnTo>
                <a:lnTo>
                  <a:pt x="636" y="57"/>
                </a:lnTo>
                <a:lnTo>
                  <a:pt x="632" y="62"/>
                </a:lnTo>
                <a:lnTo>
                  <a:pt x="628" y="64"/>
                </a:lnTo>
                <a:lnTo>
                  <a:pt x="622" y="66"/>
                </a:lnTo>
                <a:lnTo>
                  <a:pt x="621" y="61"/>
                </a:lnTo>
                <a:lnTo>
                  <a:pt x="617" y="64"/>
                </a:lnTo>
                <a:lnTo>
                  <a:pt x="613" y="62"/>
                </a:lnTo>
                <a:lnTo>
                  <a:pt x="613" y="57"/>
                </a:lnTo>
                <a:lnTo>
                  <a:pt x="611" y="57"/>
                </a:lnTo>
                <a:lnTo>
                  <a:pt x="609" y="53"/>
                </a:lnTo>
                <a:lnTo>
                  <a:pt x="609" y="46"/>
                </a:lnTo>
                <a:lnTo>
                  <a:pt x="611" y="40"/>
                </a:lnTo>
                <a:lnTo>
                  <a:pt x="609" y="38"/>
                </a:lnTo>
                <a:lnTo>
                  <a:pt x="607" y="36"/>
                </a:lnTo>
                <a:lnTo>
                  <a:pt x="605" y="34"/>
                </a:lnTo>
                <a:lnTo>
                  <a:pt x="607" y="38"/>
                </a:lnTo>
                <a:lnTo>
                  <a:pt x="604" y="34"/>
                </a:lnTo>
                <a:lnTo>
                  <a:pt x="607" y="38"/>
                </a:lnTo>
                <a:lnTo>
                  <a:pt x="609" y="42"/>
                </a:lnTo>
                <a:lnTo>
                  <a:pt x="605" y="47"/>
                </a:lnTo>
                <a:lnTo>
                  <a:pt x="605" y="55"/>
                </a:lnTo>
                <a:lnTo>
                  <a:pt x="609" y="59"/>
                </a:lnTo>
                <a:lnTo>
                  <a:pt x="609" y="62"/>
                </a:lnTo>
                <a:lnTo>
                  <a:pt x="613" y="64"/>
                </a:lnTo>
                <a:lnTo>
                  <a:pt x="613" y="68"/>
                </a:lnTo>
                <a:lnTo>
                  <a:pt x="615" y="68"/>
                </a:lnTo>
                <a:lnTo>
                  <a:pt x="615" y="70"/>
                </a:lnTo>
                <a:lnTo>
                  <a:pt x="613" y="72"/>
                </a:lnTo>
                <a:lnTo>
                  <a:pt x="611" y="76"/>
                </a:lnTo>
                <a:lnTo>
                  <a:pt x="615" y="74"/>
                </a:lnTo>
                <a:lnTo>
                  <a:pt x="615" y="76"/>
                </a:lnTo>
                <a:lnTo>
                  <a:pt x="615" y="74"/>
                </a:lnTo>
                <a:lnTo>
                  <a:pt x="619" y="76"/>
                </a:lnTo>
                <a:lnTo>
                  <a:pt x="624" y="72"/>
                </a:lnTo>
                <a:lnTo>
                  <a:pt x="628" y="72"/>
                </a:lnTo>
                <a:lnTo>
                  <a:pt x="632" y="70"/>
                </a:lnTo>
                <a:lnTo>
                  <a:pt x="637" y="66"/>
                </a:lnTo>
                <a:lnTo>
                  <a:pt x="641" y="68"/>
                </a:lnTo>
                <a:lnTo>
                  <a:pt x="641" y="70"/>
                </a:lnTo>
                <a:lnTo>
                  <a:pt x="643" y="70"/>
                </a:lnTo>
                <a:lnTo>
                  <a:pt x="651" y="70"/>
                </a:lnTo>
                <a:lnTo>
                  <a:pt x="645" y="68"/>
                </a:lnTo>
                <a:lnTo>
                  <a:pt x="649" y="64"/>
                </a:lnTo>
                <a:lnTo>
                  <a:pt x="656" y="61"/>
                </a:lnTo>
                <a:lnTo>
                  <a:pt x="666" y="61"/>
                </a:lnTo>
                <a:lnTo>
                  <a:pt x="669" y="61"/>
                </a:lnTo>
                <a:lnTo>
                  <a:pt x="669" y="64"/>
                </a:lnTo>
                <a:lnTo>
                  <a:pt x="666" y="62"/>
                </a:lnTo>
                <a:lnTo>
                  <a:pt x="666" y="64"/>
                </a:lnTo>
                <a:lnTo>
                  <a:pt x="668" y="66"/>
                </a:lnTo>
                <a:lnTo>
                  <a:pt x="666" y="66"/>
                </a:lnTo>
                <a:lnTo>
                  <a:pt x="662" y="64"/>
                </a:lnTo>
                <a:lnTo>
                  <a:pt x="666" y="68"/>
                </a:lnTo>
                <a:lnTo>
                  <a:pt x="668" y="66"/>
                </a:lnTo>
                <a:lnTo>
                  <a:pt x="671" y="66"/>
                </a:lnTo>
                <a:lnTo>
                  <a:pt x="669" y="72"/>
                </a:lnTo>
                <a:lnTo>
                  <a:pt x="666" y="72"/>
                </a:lnTo>
                <a:lnTo>
                  <a:pt x="668" y="74"/>
                </a:lnTo>
                <a:lnTo>
                  <a:pt x="669" y="81"/>
                </a:lnTo>
                <a:lnTo>
                  <a:pt x="669" y="83"/>
                </a:lnTo>
                <a:lnTo>
                  <a:pt x="669" y="81"/>
                </a:lnTo>
                <a:lnTo>
                  <a:pt x="668" y="83"/>
                </a:lnTo>
                <a:lnTo>
                  <a:pt x="666" y="79"/>
                </a:lnTo>
                <a:lnTo>
                  <a:pt x="664" y="81"/>
                </a:lnTo>
                <a:lnTo>
                  <a:pt x="669" y="83"/>
                </a:lnTo>
                <a:lnTo>
                  <a:pt x="671" y="85"/>
                </a:lnTo>
                <a:lnTo>
                  <a:pt x="671" y="89"/>
                </a:lnTo>
                <a:lnTo>
                  <a:pt x="673" y="89"/>
                </a:lnTo>
                <a:lnTo>
                  <a:pt x="673" y="91"/>
                </a:lnTo>
                <a:lnTo>
                  <a:pt x="669" y="93"/>
                </a:lnTo>
                <a:lnTo>
                  <a:pt x="666" y="91"/>
                </a:lnTo>
                <a:lnTo>
                  <a:pt x="664" y="91"/>
                </a:lnTo>
                <a:lnTo>
                  <a:pt x="662" y="91"/>
                </a:lnTo>
                <a:lnTo>
                  <a:pt x="664" y="91"/>
                </a:lnTo>
                <a:lnTo>
                  <a:pt x="669" y="94"/>
                </a:lnTo>
                <a:lnTo>
                  <a:pt x="671" y="93"/>
                </a:lnTo>
                <a:lnTo>
                  <a:pt x="675" y="94"/>
                </a:lnTo>
                <a:lnTo>
                  <a:pt x="677" y="91"/>
                </a:lnTo>
                <a:lnTo>
                  <a:pt x="675" y="87"/>
                </a:lnTo>
                <a:lnTo>
                  <a:pt x="677" y="81"/>
                </a:lnTo>
                <a:lnTo>
                  <a:pt x="675" y="78"/>
                </a:lnTo>
                <a:lnTo>
                  <a:pt x="675" y="74"/>
                </a:lnTo>
                <a:lnTo>
                  <a:pt x="673" y="68"/>
                </a:lnTo>
                <a:lnTo>
                  <a:pt x="677" y="64"/>
                </a:lnTo>
                <a:lnTo>
                  <a:pt x="679" y="66"/>
                </a:lnTo>
                <a:lnTo>
                  <a:pt x="681" y="68"/>
                </a:lnTo>
                <a:lnTo>
                  <a:pt x="683" y="66"/>
                </a:lnTo>
                <a:lnTo>
                  <a:pt x="685" y="68"/>
                </a:lnTo>
                <a:lnTo>
                  <a:pt x="685" y="66"/>
                </a:lnTo>
                <a:lnTo>
                  <a:pt x="683" y="68"/>
                </a:lnTo>
                <a:lnTo>
                  <a:pt x="683" y="66"/>
                </a:lnTo>
                <a:lnTo>
                  <a:pt x="681" y="66"/>
                </a:lnTo>
                <a:lnTo>
                  <a:pt x="679" y="64"/>
                </a:lnTo>
                <a:lnTo>
                  <a:pt x="681" y="62"/>
                </a:lnTo>
                <a:lnTo>
                  <a:pt x="683" y="64"/>
                </a:lnTo>
                <a:lnTo>
                  <a:pt x="686" y="62"/>
                </a:lnTo>
                <a:lnTo>
                  <a:pt x="681" y="61"/>
                </a:lnTo>
                <a:lnTo>
                  <a:pt x="683" y="59"/>
                </a:lnTo>
                <a:lnTo>
                  <a:pt x="685" y="59"/>
                </a:lnTo>
                <a:lnTo>
                  <a:pt x="686" y="59"/>
                </a:lnTo>
                <a:lnTo>
                  <a:pt x="686" y="61"/>
                </a:lnTo>
                <a:lnTo>
                  <a:pt x="688" y="61"/>
                </a:lnTo>
                <a:lnTo>
                  <a:pt x="692" y="66"/>
                </a:lnTo>
                <a:lnTo>
                  <a:pt x="694" y="68"/>
                </a:lnTo>
                <a:lnTo>
                  <a:pt x="696" y="72"/>
                </a:lnTo>
                <a:lnTo>
                  <a:pt x="696" y="78"/>
                </a:lnTo>
                <a:lnTo>
                  <a:pt x="700" y="85"/>
                </a:lnTo>
                <a:lnTo>
                  <a:pt x="698" y="85"/>
                </a:lnTo>
                <a:lnTo>
                  <a:pt x="696" y="83"/>
                </a:lnTo>
                <a:lnTo>
                  <a:pt x="694" y="85"/>
                </a:lnTo>
                <a:lnTo>
                  <a:pt x="700" y="91"/>
                </a:lnTo>
                <a:lnTo>
                  <a:pt x="698" y="94"/>
                </a:lnTo>
                <a:lnTo>
                  <a:pt x="696" y="96"/>
                </a:lnTo>
                <a:lnTo>
                  <a:pt x="698" y="96"/>
                </a:lnTo>
                <a:lnTo>
                  <a:pt x="692" y="98"/>
                </a:lnTo>
                <a:lnTo>
                  <a:pt x="694" y="96"/>
                </a:lnTo>
                <a:lnTo>
                  <a:pt x="690" y="98"/>
                </a:lnTo>
                <a:lnTo>
                  <a:pt x="688" y="94"/>
                </a:lnTo>
                <a:lnTo>
                  <a:pt x="688" y="93"/>
                </a:lnTo>
                <a:lnTo>
                  <a:pt x="686" y="93"/>
                </a:lnTo>
                <a:lnTo>
                  <a:pt x="686" y="94"/>
                </a:lnTo>
                <a:lnTo>
                  <a:pt x="686" y="96"/>
                </a:lnTo>
                <a:lnTo>
                  <a:pt x="688" y="98"/>
                </a:lnTo>
                <a:lnTo>
                  <a:pt x="686" y="100"/>
                </a:lnTo>
                <a:lnTo>
                  <a:pt x="686" y="102"/>
                </a:lnTo>
                <a:lnTo>
                  <a:pt x="685" y="104"/>
                </a:lnTo>
                <a:lnTo>
                  <a:pt x="683" y="106"/>
                </a:lnTo>
                <a:lnTo>
                  <a:pt x="681" y="108"/>
                </a:lnTo>
                <a:lnTo>
                  <a:pt x="683" y="108"/>
                </a:lnTo>
                <a:lnTo>
                  <a:pt x="679" y="111"/>
                </a:lnTo>
                <a:lnTo>
                  <a:pt x="681" y="111"/>
                </a:lnTo>
                <a:lnTo>
                  <a:pt x="679" y="115"/>
                </a:lnTo>
                <a:lnTo>
                  <a:pt x="681" y="119"/>
                </a:lnTo>
                <a:lnTo>
                  <a:pt x="679" y="117"/>
                </a:lnTo>
                <a:lnTo>
                  <a:pt x="677" y="117"/>
                </a:lnTo>
                <a:lnTo>
                  <a:pt x="675" y="121"/>
                </a:lnTo>
                <a:lnTo>
                  <a:pt x="677" y="121"/>
                </a:lnTo>
                <a:lnTo>
                  <a:pt x="677" y="123"/>
                </a:lnTo>
                <a:lnTo>
                  <a:pt x="671" y="125"/>
                </a:lnTo>
                <a:lnTo>
                  <a:pt x="671" y="128"/>
                </a:lnTo>
                <a:lnTo>
                  <a:pt x="669" y="126"/>
                </a:lnTo>
                <a:lnTo>
                  <a:pt x="666" y="128"/>
                </a:lnTo>
                <a:lnTo>
                  <a:pt x="664" y="126"/>
                </a:lnTo>
                <a:lnTo>
                  <a:pt x="662" y="126"/>
                </a:lnTo>
                <a:lnTo>
                  <a:pt x="664" y="125"/>
                </a:lnTo>
                <a:lnTo>
                  <a:pt x="662" y="125"/>
                </a:lnTo>
                <a:lnTo>
                  <a:pt x="662" y="128"/>
                </a:lnTo>
                <a:lnTo>
                  <a:pt x="658" y="128"/>
                </a:lnTo>
                <a:lnTo>
                  <a:pt x="660" y="126"/>
                </a:lnTo>
                <a:lnTo>
                  <a:pt x="656" y="126"/>
                </a:lnTo>
                <a:lnTo>
                  <a:pt x="656" y="125"/>
                </a:lnTo>
                <a:lnTo>
                  <a:pt x="654" y="125"/>
                </a:lnTo>
                <a:lnTo>
                  <a:pt x="653" y="123"/>
                </a:lnTo>
                <a:lnTo>
                  <a:pt x="653" y="125"/>
                </a:lnTo>
                <a:lnTo>
                  <a:pt x="654" y="125"/>
                </a:lnTo>
                <a:lnTo>
                  <a:pt x="653" y="126"/>
                </a:lnTo>
                <a:lnTo>
                  <a:pt x="654" y="130"/>
                </a:lnTo>
                <a:lnTo>
                  <a:pt x="651" y="128"/>
                </a:lnTo>
                <a:lnTo>
                  <a:pt x="651" y="130"/>
                </a:lnTo>
                <a:lnTo>
                  <a:pt x="649" y="128"/>
                </a:lnTo>
                <a:lnTo>
                  <a:pt x="653" y="128"/>
                </a:lnTo>
                <a:lnTo>
                  <a:pt x="651" y="125"/>
                </a:lnTo>
                <a:lnTo>
                  <a:pt x="651" y="123"/>
                </a:lnTo>
                <a:lnTo>
                  <a:pt x="647" y="121"/>
                </a:lnTo>
                <a:lnTo>
                  <a:pt x="649" y="119"/>
                </a:lnTo>
                <a:lnTo>
                  <a:pt x="647" y="121"/>
                </a:lnTo>
                <a:lnTo>
                  <a:pt x="645" y="119"/>
                </a:lnTo>
                <a:lnTo>
                  <a:pt x="645" y="121"/>
                </a:lnTo>
                <a:lnTo>
                  <a:pt x="647" y="119"/>
                </a:lnTo>
                <a:lnTo>
                  <a:pt x="645" y="121"/>
                </a:lnTo>
                <a:lnTo>
                  <a:pt x="649" y="123"/>
                </a:lnTo>
                <a:lnTo>
                  <a:pt x="647" y="123"/>
                </a:lnTo>
                <a:lnTo>
                  <a:pt x="645" y="126"/>
                </a:lnTo>
                <a:lnTo>
                  <a:pt x="647" y="126"/>
                </a:lnTo>
                <a:lnTo>
                  <a:pt x="645" y="126"/>
                </a:lnTo>
                <a:lnTo>
                  <a:pt x="645" y="123"/>
                </a:lnTo>
                <a:lnTo>
                  <a:pt x="645" y="125"/>
                </a:lnTo>
                <a:lnTo>
                  <a:pt x="643" y="125"/>
                </a:lnTo>
                <a:lnTo>
                  <a:pt x="645" y="125"/>
                </a:lnTo>
                <a:lnTo>
                  <a:pt x="645" y="126"/>
                </a:lnTo>
                <a:lnTo>
                  <a:pt x="643" y="126"/>
                </a:lnTo>
                <a:lnTo>
                  <a:pt x="645" y="128"/>
                </a:lnTo>
                <a:lnTo>
                  <a:pt x="641" y="128"/>
                </a:lnTo>
                <a:lnTo>
                  <a:pt x="641" y="126"/>
                </a:lnTo>
                <a:lnTo>
                  <a:pt x="639" y="128"/>
                </a:lnTo>
                <a:lnTo>
                  <a:pt x="639" y="126"/>
                </a:lnTo>
                <a:lnTo>
                  <a:pt x="637" y="125"/>
                </a:lnTo>
                <a:lnTo>
                  <a:pt x="641" y="125"/>
                </a:lnTo>
                <a:lnTo>
                  <a:pt x="637" y="123"/>
                </a:lnTo>
                <a:lnTo>
                  <a:pt x="637" y="125"/>
                </a:lnTo>
                <a:lnTo>
                  <a:pt x="636" y="123"/>
                </a:lnTo>
                <a:lnTo>
                  <a:pt x="637" y="123"/>
                </a:lnTo>
                <a:lnTo>
                  <a:pt x="637" y="119"/>
                </a:lnTo>
                <a:lnTo>
                  <a:pt x="641" y="121"/>
                </a:lnTo>
                <a:lnTo>
                  <a:pt x="636" y="119"/>
                </a:lnTo>
                <a:lnTo>
                  <a:pt x="637" y="119"/>
                </a:lnTo>
                <a:lnTo>
                  <a:pt x="636" y="119"/>
                </a:lnTo>
                <a:lnTo>
                  <a:pt x="636" y="121"/>
                </a:lnTo>
                <a:lnTo>
                  <a:pt x="632" y="117"/>
                </a:lnTo>
                <a:lnTo>
                  <a:pt x="634" y="117"/>
                </a:lnTo>
                <a:lnTo>
                  <a:pt x="632" y="117"/>
                </a:lnTo>
                <a:lnTo>
                  <a:pt x="639" y="117"/>
                </a:lnTo>
                <a:lnTo>
                  <a:pt x="641" y="115"/>
                </a:lnTo>
                <a:lnTo>
                  <a:pt x="643" y="115"/>
                </a:lnTo>
                <a:lnTo>
                  <a:pt x="641" y="113"/>
                </a:lnTo>
                <a:lnTo>
                  <a:pt x="643" y="110"/>
                </a:lnTo>
                <a:lnTo>
                  <a:pt x="641" y="110"/>
                </a:lnTo>
                <a:lnTo>
                  <a:pt x="641" y="111"/>
                </a:lnTo>
                <a:lnTo>
                  <a:pt x="636" y="108"/>
                </a:lnTo>
                <a:lnTo>
                  <a:pt x="636" y="110"/>
                </a:lnTo>
                <a:lnTo>
                  <a:pt x="641" y="110"/>
                </a:lnTo>
                <a:lnTo>
                  <a:pt x="639" y="113"/>
                </a:lnTo>
                <a:lnTo>
                  <a:pt x="636" y="113"/>
                </a:lnTo>
                <a:lnTo>
                  <a:pt x="636" y="111"/>
                </a:lnTo>
                <a:lnTo>
                  <a:pt x="636" y="115"/>
                </a:lnTo>
                <a:lnTo>
                  <a:pt x="632" y="113"/>
                </a:lnTo>
                <a:lnTo>
                  <a:pt x="630" y="115"/>
                </a:lnTo>
                <a:lnTo>
                  <a:pt x="624" y="113"/>
                </a:lnTo>
                <a:lnTo>
                  <a:pt x="626" y="111"/>
                </a:lnTo>
                <a:lnTo>
                  <a:pt x="624" y="113"/>
                </a:lnTo>
                <a:lnTo>
                  <a:pt x="626" y="115"/>
                </a:lnTo>
                <a:lnTo>
                  <a:pt x="622" y="113"/>
                </a:lnTo>
                <a:lnTo>
                  <a:pt x="626" y="115"/>
                </a:lnTo>
                <a:lnTo>
                  <a:pt x="628" y="115"/>
                </a:lnTo>
                <a:lnTo>
                  <a:pt x="628" y="117"/>
                </a:lnTo>
                <a:lnTo>
                  <a:pt x="626" y="117"/>
                </a:lnTo>
                <a:lnTo>
                  <a:pt x="624" y="119"/>
                </a:lnTo>
                <a:lnTo>
                  <a:pt x="621" y="119"/>
                </a:lnTo>
                <a:lnTo>
                  <a:pt x="622" y="121"/>
                </a:lnTo>
                <a:lnTo>
                  <a:pt x="624" y="121"/>
                </a:lnTo>
                <a:lnTo>
                  <a:pt x="628" y="117"/>
                </a:lnTo>
                <a:lnTo>
                  <a:pt x="632" y="121"/>
                </a:lnTo>
                <a:lnTo>
                  <a:pt x="632" y="123"/>
                </a:lnTo>
                <a:lnTo>
                  <a:pt x="630" y="123"/>
                </a:lnTo>
                <a:lnTo>
                  <a:pt x="632" y="123"/>
                </a:lnTo>
                <a:lnTo>
                  <a:pt x="634" y="125"/>
                </a:lnTo>
                <a:lnTo>
                  <a:pt x="632" y="126"/>
                </a:lnTo>
                <a:lnTo>
                  <a:pt x="634" y="126"/>
                </a:lnTo>
                <a:lnTo>
                  <a:pt x="634" y="128"/>
                </a:lnTo>
                <a:lnTo>
                  <a:pt x="634" y="126"/>
                </a:lnTo>
                <a:lnTo>
                  <a:pt x="636" y="128"/>
                </a:lnTo>
                <a:lnTo>
                  <a:pt x="628" y="128"/>
                </a:lnTo>
                <a:lnTo>
                  <a:pt x="628" y="126"/>
                </a:lnTo>
                <a:lnTo>
                  <a:pt x="630" y="126"/>
                </a:lnTo>
                <a:lnTo>
                  <a:pt x="628" y="126"/>
                </a:lnTo>
                <a:lnTo>
                  <a:pt x="628" y="125"/>
                </a:lnTo>
                <a:lnTo>
                  <a:pt x="628" y="126"/>
                </a:lnTo>
                <a:lnTo>
                  <a:pt x="626" y="125"/>
                </a:lnTo>
                <a:lnTo>
                  <a:pt x="626" y="128"/>
                </a:lnTo>
                <a:lnTo>
                  <a:pt x="624" y="126"/>
                </a:lnTo>
                <a:lnTo>
                  <a:pt x="621" y="128"/>
                </a:lnTo>
                <a:lnTo>
                  <a:pt x="615" y="126"/>
                </a:lnTo>
                <a:lnTo>
                  <a:pt x="615" y="125"/>
                </a:lnTo>
                <a:lnTo>
                  <a:pt x="617" y="125"/>
                </a:lnTo>
                <a:lnTo>
                  <a:pt x="615" y="125"/>
                </a:lnTo>
                <a:lnTo>
                  <a:pt x="615" y="119"/>
                </a:lnTo>
                <a:lnTo>
                  <a:pt x="613" y="126"/>
                </a:lnTo>
                <a:lnTo>
                  <a:pt x="611" y="126"/>
                </a:lnTo>
                <a:lnTo>
                  <a:pt x="607" y="126"/>
                </a:lnTo>
                <a:lnTo>
                  <a:pt x="605" y="126"/>
                </a:lnTo>
                <a:lnTo>
                  <a:pt x="605" y="125"/>
                </a:lnTo>
                <a:lnTo>
                  <a:pt x="604" y="126"/>
                </a:lnTo>
                <a:lnTo>
                  <a:pt x="602" y="123"/>
                </a:lnTo>
                <a:lnTo>
                  <a:pt x="602" y="125"/>
                </a:lnTo>
                <a:lnTo>
                  <a:pt x="600" y="126"/>
                </a:lnTo>
                <a:lnTo>
                  <a:pt x="596" y="123"/>
                </a:lnTo>
                <a:lnTo>
                  <a:pt x="594" y="123"/>
                </a:lnTo>
                <a:lnTo>
                  <a:pt x="596" y="125"/>
                </a:lnTo>
                <a:lnTo>
                  <a:pt x="592" y="125"/>
                </a:lnTo>
                <a:lnTo>
                  <a:pt x="600" y="126"/>
                </a:lnTo>
                <a:lnTo>
                  <a:pt x="602" y="130"/>
                </a:lnTo>
                <a:lnTo>
                  <a:pt x="602" y="132"/>
                </a:lnTo>
                <a:lnTo>
                  <a:pt x="604" y="134"/>
                </a:lnTo>
                <a:lnTo>
                  <a:pt x="604" y="132"/>
                </a:lnTo>
                <a:lnTo>
                  <a:pt x="602" y="130"/>
                </a:lnTo>
                <a:lnTo>
                  <a:pt x="605" y="128"/>
                </a:lnTo>
                <a:lnTo>
                  <a:pt x="609" y="130"/>
                </a:lnTo>
                <a:lnTo>
                  <a:pt x="613" y="130"/>
                </a:lnTo>
                <a:lnTo>
                  <a:pt x="615" y="130"/>
                </a:lnTo>
                <a:lnTo>
                  <a:pt x="615" y="134"/>
                </a:lnTo>
                <a:lnTo>
                  <a:pt x="613" y="136"/>
                </a:lnTo>
                <a:lnTo>
                  <a:pt x="615" y="134"/>
                </a:lnTo>
                <a:lnTo>
                  <a:pt x="617" y="134"/>
                </a:lnTo>
                <a:lnTo>
                  <a:pt x="615" y="132"/>
                </a:lnTo>
                <a:lnTo>
                  <a:pt x="624" y="132"/>
                </a:lnTo>
                <a:lnTo>
                  <a:pt x="626" y="134"/>
                </a:lnTo>
                <a:lnTo>
                  <a:pt x="622" y="136"/>
                </a:lnTo>
                <a:lnTo>
                  <a:pt x="621" y="138"/>
                </a:lnTo>
                <a:lnTo>
                  <a:pt x="619" y="140"/>
                </a:lnTo>
                <a:lnTo>
                  <a:pt x="621" y="142"/>
                </a:lnTo>
                <a:lnTo>
                  <a:pt x="619" y="140"/>
                </a:lnTo>
                <a:lnTo>
                  <a:pt x="622" y="140"/>
                </a:lnTo>
                <a:lnTo>
                  <a:pt x="622" y="138"/>
                </a:lnTo>
                <a:lnTo>
                  <a:pt x="624" y="136"/>
                </a:lnTo>
                <a:lnTo>
                  <a:pt x="626" y="136"/>
                </a:lnTo>
                <a:lnTo>
                  <a:pt x="626" y="140"/>
                </a:lnTo>
                <a:lnTo>
                  <a:pt x="626" y="136"/>
                </a:lnTo>
                <a:lnTo>
                  <a:pt x="628" y="138"/>
                </a:lnTo>
                <a:lnTo>
                  <a:pt x="628" y="134"/>
                </a:lnTo>
                <a:lnTo>
                  <a:pt x="632" y="134"/>
                </a:lnTo>
                <a:lnTo>
                  <a:pt x="630" y="138"/>
                </a:lnTo>
                <a:lnTo>
                  <a:pt x="634" y="136"/>
                </a:lnTo>
                <a:lnTo>
                  <a:pt x="634" y="138"/>
                </a:lnTo>
                <a:lnTo>
                  <a:pt x="632" y="140"/>
                </a:lnTo>
                <a:lnTo>
                  <a:pt x="634" y="140"/>
                </a:lnTo>
                <a:lnTo>
                  <a:pt x="630" y="142"/>
                </a:lnTo>
                <a:lnTo>
                  <a:pt x="634" y="140"/>
                </a:lnTo>
                <a:lnTo>
                  <a:pt x="637" y="143"/>
                </a:lnTo>
                <a:lnTo>
                  <a:pt x="636" y="142"/>
                </a:lnTo>
                <a:lnTo>
                  <a:pt x="637" y="142"/>
                </a:lnTo>
                <a:lnTo>
                  <a:pt x="636" y="142"/>
                </a:lnTo>
                <a:lnTo>
                  <a:pt x="634" y="140"/>
                </a:lnTo>
                <a:lnTo>
                  <a:pt x="637" y="140"/>
                </a:lnTo>
                <a:lnTo>
                  <a:pt x="634" y="138"/>
                </a:lnTo>
                <a:lnTo>
                  <a:pt x="636" y="138"/>
                </a:lnTo>
                <a:lnTo>
                  <a:pt x="634" y="136"/>
                </a:lnTo>
                <a:lnTo>
                  <a:pt x="636" y="136"/>
                </a:lnTo>
                <a:lnTo>
                  <a:pt x="639" y="136"/>
                </a:lnTo>
                <a:lnTo>
                  <a:pt x="636" y="136"/>
                </a:lnTo>
                <a:lnTo>
                  <a:pt x="639" y="136"/>
                </a:lnTo>
                <a:lnTo>
                  <a:pt x="639" y="138"/>
                </a:lnTo>
                <a:lnTo>
                  <a:pt x="641" y="136"/>
                </a:lnTo>
                <a:lnTo>
                  <a:pt x="641" y="140"/>
                </a:lnTo>
                <a:lnTo>
                  <a:pt x="641" y="136"/>
                </a:lnTo>
                <a:lnTo>
                  <a:pt x="643" y="138"/>
                </a:lnTo>
                <a:lnTo>
                  <a:pt x="641" y="136"/>
                </a:lnTo>
                <a:lnTo>
                  <a:pt x="645" y="136"/>
                </a:lnTo>
                <a:lnTo>
                  <a:pt x="643" y="136"/>
                </a:lnTo>
                <a:lnTo>
                  <a:pt x="643" y="138"/>
                </a:lnTo>
                <a:lnTo>
                  <a:pt x="643" y="140"/>
                </a:lnTo>
                <a:lnTo>
                  <a:pt x="645" y="138"/>
                </a:lnTo>
                <a:lnTo>
                  <a:pt x="647" y="140"/>
                </a:lnTo>
                <a:lnTo>
                  <a:pt x="643" y="142"/>
                </a:lnTo>
                <a:lnTo>
                  <a:pt x="647" y="142"/>
                </a:lnTo>
                <a:lnTo>
                  <a:pt x="643" y="143"/>
                </a:lnTo>
                <a:lnTo>
                  <a:pt x="641" y="142"/>
                </a:lnTo>
                <a:lnTo>
                  <a:pt x="645" y="143"/>
                </a:lnTo>
                <a:lnTo>
                  <a:pt x="645" y="145"/>
                </a:lnTo>
                <a:lnTo>
                  <a:pt x="639" y="143"/>
                </a:lnTo>
                <a:lnTo>
                  <a:pt x="639" y="145"/>
                </a:lnTo>
                <a:lnTo>
                  <a:pt x="637" y="145"/>
                </a:lnTo>
                <a:lnTo>
                  <a:pt x="639" y="145"/>
                </a:lnTo>
                <a:lnTo>
                  <a:pt x="639" y="147"/>
                </a:lnTo>
                <a:lnTo>
                  <a:pt x="641" y="145"/>
                </a:lnTo>
                <a:lnTo>
                  <a:pt x="643" y="147"/>
                </a:lnTo>
                <a:lnTo>
                  <a:pt x="643" y="149"/>
                </a:lnTo>
                <a:lnTo>
                  <a:pt x="639" y="149"/>
                </a:lnTo>
                <a:lnTo>
                  <a:pt x="637" y="145"/>
                </a:lnTo>
                <a:lnTo>
                  <a:pt x="636" y="147"/>
                </a:lnTo>
                <a:lnTo>
                  <a:pt x="637" y="149"/>
                </a:lnTo>
                <a:lnTo>
                  <a:pt x="634" y="149"/>
                </a:lnTo>
                <a:lnTo>
                  <a:pt x="637" y="149"/>
                </a:lnTo>
                <a:lnTo>
                  <a:pt x="636" y="149"/>
                </a:lnTo>
                <a:lnTo>
                  <a:pt x="636" y="151"/>
                </a:lnTo>
                <a:lnTo>
                  <a:pt x="634" y="151"/>
                </a:lnTo>
                <a:lnTo>
                  <a:pt x="634" y="149"/>
                </a:lnTo>
                <a:lnTo>
                  <a:pt x="632" y="149"/>
                </a:lnTo>
                <a:lnTo>
                  <a:pt x="634" y="151"/>
                </a:lnTo>
                <a:lnTo>
                  <a:pt x="630" y="153"/>
                </a:lnTo>
                <a:lnTo>
                  <a:pt x="632" y="155"/>
                </a:lnTo>
                <a:lnTo>
                  <a:pt x="626" y="157"/>
                </a:lnTo>
                <a:lnTo>
                  <a:pt x="628" y="157"/>
                </a:lnTo>
                <a:lnTo>
                  <a:pt x="626" y="158"/>
                </a:lnTo>
                <a:lnTo>
                  <a:pt x="630" y="160"/>
                </a:lnTo>
                <a:lnTo>
                  <a:pt x="628" y="157"/>
                </a:lnTo>
                <a:lnTo>
                  <a:pt x="632" y="157"/>
                </a:lnTo>
                <a:lnTo>
                  <a:pt x="630" y="157"/>
                </a:lnTo>
                <a:lnTo>
                  <a:pt x="634" y="157"/>
                </a:lnTo>
                <a:lnTo>
                  <a:pt x="634" y="153"/>
                </a:lnTo>
                <a:lnTo>
                  <a:pt x="634" y="155"/>
                </a:lnTo>
                <a:lnTo>
                  <a:pt x="636" y="153"/>
                </a:lnTo>
                <a:lnTo>
                  <a:pt x="634" y="155"/>
                </a:lnTo>
                <a:lnTo>
                  <a:pt x="636" y="153"/>
                </a:lnTo>
                <a:lnTo>
                  <a:pt x="637" y="153"/>
                </a:lnTo>
                <a:lnTo>
                  <a:pt x="636" y="155"/>
                </a:lnTo>
                <a:lnTo>
                  <a:pt x="637" y="153"/>
                </a:lnTo>
                <a:lnTo>
                  <a:pt x="637" y="157"/>
                </a:lnTo>
                <a:lnTo>
                  <a:pt x="639" y="153"/>
                </a:lnTo>
                <a:lnTo>
                  <a:pt x="639" y="155"/>
                </a:lnTo>
                <a:lnTo>
                  <a:pt x="641" y="155"/>
                </a:lnTo>
                <a:lnTo>
                  <a:pt x="639" y="155"/>
                </a:lnTo>
                <a:lnTo>
                  <a:pt x="641" y="153"/>
                </a:lnTo>
                <a:lnTo>
                  <a:pt x="639" y="153"/>
                </a:lnTo>
                <a:lnTo>
                  <a:pt x="639" y="151"/>
                </a:lnTo>
                <a:lnTo>
                  <a:pt x="643" y="153"/>
                </a:lnTo>
                <a:lnTo>
                  <a:pt x="641" y="157"/>
                </a:lnTo>
                <a:lnTo>
                  <a:pt x="639" y="157"/>
                </a:lnTo>
                <a:lnTo>
                  <a:pt x="641" y="158"/>
                </a:lnTo>
                <a:lnTo>
                  <a:pt x="639" y="158"/>
                </a:lnTo>
                <a:lnTo>
                  <a:pt x="637" y="158"/>
                </a:lnTo>
                <a:lnTo>
                  <a:pt x="637" y="160"/>
                </a:lnTo>
                <a:lnTo>
                  <a:pt x="636" y="158"/>
                </a:lnTo>
                <a:lnTo>
                  <a:pt x="636" y="160"/>
                </a:lnTo>
                <a:lnTo>
                  <a:pt x="634" y="162"/>
                </a:lnTo>
                <a:lnTo>
                  <a:pt x="637" y="160"/>
                </a:lnTo>
                <a:lnTo>
                  <a:pt x="637" y="162"/>
                </a:lnTo>
                <a:lnTo>
                  <a:pt x="637" y="160"/>
                </a:lnTo>
                <a:lnTo>
                  <a:pt x="639" y="160"/>
                </a:lnTo>
                <a:lnTo>
                  <a:pt x="639" y="162"/>
                </a:lnTo>
                <a:lnTo>
                  <a:pt x="636" y="164"/>
                </a:lnTo>
                <a:lnTo>
                  <a:pt x="636" y="166"/>
                </a:lnTo>
                <a:lnTo>
                  <a:pt x="634" y="164"/>
                </a:lnTo>
                <a:lnTo>
                  <a:pt x="636" y="166"/>
                </a:lnTo>
                <a:lnTo>
                  <a:pt x="634" y="168"/>
                </a:lnTo>
                <a:lnTo>
                  <a:pt x="634" y="166"/>
                </a:lnTo>
                <a:lnTo>
                  <a:pt x="632" y="168"/>
                </a:lnTo>
                <a:lnTo>
                  <a:pt x="632" y="166"/>
                </a:lnTo>
                <a:lnTo>
                  <a:pt x="630" y="166"/>
                </a:lnTo>
                <a:lnTo>
                  <a:pt x="632" y="168"/>
                </a:lnTo>
                <a:lnTo>
                  <a:pt x="630" y="168"/>
                </a:lnTo>
                <a:lnTo>
                  <a:pt x="628" y="168"/>
                </a:lnTo>
                <a:lnTo>
                  <a:pt x="632" y="168"/>
                </a:lnTo>
                <a:lnTo>
                  <a:pt x="632" y="170"/>
                </a:lnTo>
                <a:lnTo>
                  <a:pt x="624" y="175"/>
                </a:lnTo>
                <a:lnTo>
                  <a:pt x="619" y="174"/>
                </a:lnTo>
                <a:lnTo>
                  <a:pt x="619" y="170"/>
                </a:lnTo>
                <a:lnTo>
                  <a:pt x="619" y="174"/>
                </a:lnTo>
                <a:lnTo>
                  <a:pt x="613" y="172"/>
                </a:lnTo>
                <a:lnTo>
                  <a:pt x="613" y="168"/>
                </a:lnTo>
                <a:lnTo>
                  <a:pt x="611" y="170"/>
                </a:lnTo>
                <a:lnTo>
                  <a:pt x="611" y="166"/>
                </a:lnTo>
                <a:lnTo>
                  <a:pt x="611" y="168"/>
                </a:lnTo>
                <a:lnTo>
                  <a:pt x="607" y="166"/>
                </a:lnTo>
                <a:lnTo>
                  <a:pt x="609" y="170"/>
                </a:lnTo>
                <a:lnTo>
                  <a:pt x="607" y="168"/>
                </a:lnTo>
                <a:lnTo>
                  <a:pt x="604" y="162"/>
                </a:lnTo>
                <a:lnTo>
                  <a:pt x="598" y="160"/>
                </a:lnTo>
                <a:lnTo>
                  <a:pt x="600" y="162"/>
                </a:lnTo>
                <a:lnTo>
                  <a:pt x="602" y="162"/>
                </a:lnTo>
                <a:lnTo>
                  <a:pt x="604" y="166"/>
                </a:lnTo>
                <a:lnTo>
                  <a:pt x="602" y="170"/>
                </a:lnTo>
                <a:lnTo>
                  <a:pt x="596" y="170"/>
                </a:lnTo>
                <a:lnTo>
                  <a:pt x="602" y="170"/>
                </a:lnTo>
                <a:lnTo>
                  <a:pt x="604" y="166"/>
                </a:lnTo>
                <a:lnTo>
                  <a:pt x="607" y="172"/>
                </a:lnTo>
                <a:lnTo>
                  <a:pt x="609" y="175"/>
                </a:lnTo>
                <a:lnTo>
                  <a:pt x="613" y="177"/>
                </a:lnTo>
                <a:lnTo>
                  <a:pt x="617" y="179"/>
                </a:lnTo>
                <a:lnTo>
                  <a:pt x="624" y="179"/>
                </a:lnTo>
                <a:lnTo>
                  <a:pt x="630" y="181"/>
                </a:lnTo>
                <a:lnTo>
                  <a:pt x="628" y="183"/>
                </a:lnTo>
                <a:lnTo>
                  <a:pt x="630" y="181"/>
                </a:lnTo>
                <a:lnTo>
                  <a:pt x="630" y="187"/>
                </a:lnTo>
                <a:lnTo>
                  <a:pt x="630" y="179"/>
                </a:lnTo>
                <a:lnTo>
                  <a:pt x="632" y="179"/>
                </a:lnTo>
                <a:lnTo>
                  <a:pt x="632" y="175"/>
                </a:lnTo>
                <a:lnTo>
                  <a:pt x="634" y="175"/>
                </a:lnTo>
                <a:lnTo>
                  <a:pt x="637" y="177"/>
                </a:lnTo>
                <a:lnTo>
                  <a:pt x="636" y="181"/>
                </a:lnTo>
                <a:lnTo>
                  <a:pt x="637" y="179"/>
                </a:lnTo>
                <a:lnTo>
                  <a:pt x="639" y="181"/>
                </a:lnTo>
                <a:lnTo>
                  <a:pt x="637" y="179"/>
                </a:lnTo>
                <a:lnTo>
                  <a:pt x="639" y="177"/>
                </a:lnTo>
                <a:lnTo>
                  <a:pt x="636" y="174"/>
                </a:lnTo>
                <a:lnTo>
                  <a:pt x="639" y="172"/>
                </a:lnTo>
                <a:lnTo>
                  <a:pt x="641" y="172"/>
                </a:lnTo>
                <a:lnTo>
                  <a:pt x="643" y="174"/>
                </a:lnTo>
                <a:lnTo>
                  <a:pt x="641" y="174"/>
                </a:lnTo>
                <a:lnTo>
                  <a:pt x="645" y="175"/>
                </a:lnTo>
                <a:lnTo>
                  <a:pt x="647" y="177"/>
                </a:lnTo>
                <a:lnTo>
                  <a:pt x="649" y="179"/>
                </a:lnTo>
                <a:lnTo>
                  <a:pt x="647" y="175"/>
                </a:lnTo>
                <a:lnTo>
                  <a:pt x="649" y="175"/>
                </a:lnTo>
                <a:lnTo>
                  <a:pt x="645" y="174"/>
                </a:lnTo>
                <a:lnTo>
                  <a:pt x="643" y="170"/>
                </a:lnTo>
                <a:lnTo>
                  <a:pt x="645" y="168"/>
                </a:lnTo>
                <a:lnTo>
                  <a:pt x="645" y="170"/>
                </a:lnTo>
                <a:lnTo>
                  <a:pt x="645" y="168"/>
                </a:lnTo>
                <a:lnTo>
                  <a:pt x="649" y="168"/>
                </a:lnTo>
                <a:lnTo>
                  <a:pt x="647" y="168"/>
                </a:lnTo>
                <a:lnTo>
                  <a:pt x="649" y="168"/>
                </a:lnTo>
                <a:lnTo>
                  <a:pt x="647" y="170"/>
                </a:lnTo>
                <a:lnTo>
                  <a:pt x="651" y="170"/>
                </a:lnTo>
                <a:lnTo>
                  <a:pt x="651" y="172"/>
                </a:lnTo>
                <a:lnTo>
                  <a:pt x="654" y="172"/>
                </a:lnTo>
                <a:lnTo>
                  <a:pt x="653" y="174"/>
                </a:lnTo>
                <a:lnTo>
                  <a:pt x="656" y="175"/>
                </a:lnTo>
                <a:lnTo>
                  <a:pt x="654" y="174"/>
                </a:lnTo>
                <a:lnTo>
                  <a:pt x="658" y="170"/>
                </a:lnTo>
                <a:lnTo>
                  <a:pt x="658" y="174"/>
                </a:lnTo>
                <a:lnTo>
                  <a:pt x="664" y="174"/>
                </a:lnTo>
                <a:lnTo>
                  <a:pt x="664" y="175"/>
                </a:lnTo>
                <a:lnTo>
                  <a:pt x="666" y="174"/>
                </a:lnTo>
                <a:lnTo>
                  <a:pt x="666" y="177"/>
                </a:lnTo>
                <a:lnTo>
                  <a:pt x="662" y="179"/>
                </a:lnTo>
                <a:lnTo>
                  <a:pt x="662" y="181"/>
                </a:lnTo>
                <a:lnTo>
                  <a:pt x="660" y="177"/>
                </a:lnTo>
                <a:lnTo>
                  <a:pt x="660" y="183"/>
                </a:lnTo>
                <a:lnTo>
                  <a:pt x="658" y="183"/>
                </a:lnTo>
                <a:lnTo>
                  <a:pt x="656" y="185"/>
                </a:lnTo>
                <a:lnTo>
                  <a:pt x="654" y="185"/>
                </a:lnTo>
                <a:lnTo>
                  <a:pt x="656" y="187"/>
                </a:lnTo>
                <a:lnTo>
                  <a:pt x="656" y="190"/>
                </a:lnTo>
                <a:lnTo>
                  <a:pt x="654" y="190"/>
                </a:lnTo>
                <a:lnTo>
                  <a:pt x="654" y="189"/>
                </a:lnTo>
                <a:lnTo>
                  <a:pt x="654" y="187"/>
                </a:lnTo>
                <a:lnTo>
                  <a:pt x="653" y="190"/>
                </a:lnTo>
                <a:lnTo>
                  <a:pt x="654" y="192"/>
                </a:lnTo>
                <a:lnTo>
                  <a:pt x="653" y="192"/>
                </a:lnTo>
                <a:lnTo>
                  <a:pt x="654" y="194"/>
                </a:lnTo>
                <a:lnTo>
                  <a:pt x="653" y="196"/>
                </a:lnTo>
                <a:lnTo>
                  <a:pt x="651" y="196"/>
                </a:lnTo>
                <a:lnTo>
                  <a:pt x="647" y="196"/>
                </a:lnTo>
                <a:lnTo>
                  <a:pt x="647" y="194"/>
                </a:lnTo>
                <a:lnTo>
                  <a:pt x="649" y="192"/>
                </a:lnTo>
                <a:lnTo>
                  <a:pt x="647" y="190"/>
                </a:lnTo>
                <a:lnTo>
                  <a:pt x="647" y="192"/>
                </a:lnTo>
                <a:lnTo>
                  <a:pt x="643" y="189"/>
                </a:lnTo>
                <a:lnTo>
                  <a:pt x="645" y="198"/>
                </a:lnTo>
                <a:lnTo>
                  <a:pt x="643" y="198"/>
                </a:lnTo>
                <a:lnTo>
                  <a:pt x="645" y="200"/>
                </a:lnTo>
                <a:lnTo>
                  <a:pt x="641" y="200"/>
                </a:lnTo>
                <a:lnTo>
                  <a:pt x="641" y="196"/>
                </a:lnTo>
                <a:lnTo>
                  <a:pt x="637" y="192"/>
                </a:lnTo>
                <a:lnTo>
                  <a:pt x="637" y="194"/>
                </a:lnTo>
                <a:lnTo>
                  <a:pt x="634" y="192"/>
                </a:lnTo>
                <a:lnTo>
                  <a:pt x="632" y="196"/>
                </a:lnTo>
                <a:lnTo>
                  <a:pt x="634" y="196"/>
                </a:lnTo>
                <a:lnTo>
                  <a:pt x="636" y="196"/>
                </a:lnTo>
                <a:lnTo>
                  <a:pt x="637" y="196"/>
                </a:lnTo>
                <a:lnTo>
                  <a:pt x="637" y="198"/>
                </a:lnTo>
                <a:lnTo>
                  <a:pt x="636" y="198"/>
                </a:lnTo>
                <a:lnTo>
                  <a:pt x="636" y="200"/>
                </a:lnTo>
                <a:lnTo>
                  <a:pt x="637" y="200"/>
                </a:lnTo>
                <a:lnTo>
                  <a:pt x="630" y="200"/>
                </a:lnTo>
                <a:lnTo>
                  <a:pt x="628" y="200"/>
                </a:lnTo>
                <a:lnTo>
                  <a:pt x="621" y="202"/>
                </a:lnTo>
                <a:lnTo>
                  <a:pt x="617" y="204"/>
                </a:lnTo>
                <a:lnTo>
                  <a:pt x="619" y="204"/>
                </a:lnTo>
                <a:lnTo>
                  <a:pt x="613" y="207"/>
                </a:lnTo>
                <a:lnTo>
                  <a:pt x="611" y="206"/>
                </a:lnTo>
                <a:lnTo>
                  <a:pt x="611" y="207"/>
                </a:lnTo>
                <a:lnTo>
                  <a:pt x="609" y="207"/>
                </a:lnTo>
                <a:lnTo>
                  <a:pt x="609" y="209"/>
                </a:lnTo>
                <a:lnTo>
                  <a:pt x="605" y="209"/>
                </a:lnTo>
                <a:lnTo>
                  <a:pt x="604" y="209"/>
                </a:lnTo>
                <a:lnTo>
                  <a:pt x="605" y="209"/>
                </a:lnTo>
                <a:lnTo>
                  <a:pt x="605" y="207"/>
                </a:lnTo>
                <a:lnTo>
                  <a:pt x="605" y="206"/>
                </a:lnTo>
                <a:lnTo>
                  <a:pt x="607" y="206"/>
                </a:lnTo>
                <a:lnTo>
                  <a:pt x="605" y="206"/>
                </a:lnTo>
                <a:lnTo>
                  <a:pt x="602" y="202"/>
                </a:lnTo>
                <a:lnTo>
                  <a:pt x="600" y="202"/>
                </a:lnTo>
                <a:lnTo>
                  <a:pt x="602" y="202"/>
                </a:lnTo>
                <a:lnTo>
                  <a:pt x="602" y="206"/>
                </a:lnTo>
                <a:lnTo>
                  <a:pt x="604" y="206"/>
                </a:lnTo>
                <a:lnTo>
                  <a:pt x="604" y="209"/>
                </a:lnTo>
                <a:lnTo>
                  <a:pt x="602" y="209"/>
                </a:lnTo>
                <a:lnTo>
                  <a:pt x="602" y="211"/>
                </a:lnTo>
                <a:lnTo>
                  <a:pt x="598" y="207"/>
                </a:lnTo>
                <a:lnTo>
                  <a:pt x="602" y="211"/>
                </a:lnTo>
                <a:lnTo>
                  <a:pt x="596" y="217"/>
                </a:lnTo>
                <a:lnTo>
                  <a:pt x="592" y="222"/>
                </a:lnTo>
                <a:lnTo>
                  <a:pt x="590" y="226"/>
                </a:lnTo>
                <a:lnTo>
                  <a:pt x="589" y="226"/>
                </a:lnTo>
                <a:lnTo>
                  <a:pt x="589" y="224"/>
                </a:lnTo>
                <a:lnTo>
                  <a:pt x="587" y="224"/>
                </a:lnTo>
                <a:lnTo>
                  <a:pt x="585" y="222"/>
                </a:lnTo>
                <a:lnTo>
                  <a:pt x="585" y="224"/>
                </a:lnTo>
                <a:lnTo>
                  <a:pt x="583" y="222"/>
                </a:lnTo>
                <a:lnTo>
                  <a:pt x="583" y="224"/>
                </a:lnTo>
                <a:lnTo>
                  <a:pt x="587" y="217"/>
                </a:lnTo>
                <a:lnTo>
                  <a:pt x="589" y="217"/>
                </a:lnTo>
                <a:lnTo>
                  <a:pt x="583" y="215"/>
                </a:lnTo>
                <a:lnTo>
                  <a:pt x="585" y="213"/>
                </a:lnTo>
                <a:lnTo>
                  <a:pt x="581" y="211"/>
                </a:lnTo>
                <a:lnTo>
                  <a:pt x="583" y="207"/>
                </a:lnTo>
                <a:lnTo>
                  <a:pt x="579" y="211"/>
                </a:lnTo>
                <a:lnTo>
                  <a:pt x="577" y="207"/>
                </a:lnTo>
                <a:lnTo>
                  <a:pt x="577" y="215"/>
                </a:lnTo>
                <a:lnTo>
                  <a:pt x="579" y="213"/>
                </a:lnTo>
                <a:lnTo>
                  <a:pt x="585" y="219"/>
                </a:lnTo>
                <a:lnTo>
                  <a:pt x="583" y="221"/>
                </a:lnTo>
                <a:lnTo>
                  <a:pt x="579" y="221"/>
                </a:lnTo>
                <a:lnTo>
                  <a:pt x="577" y="222"/>
                </a:lnTo>
                <a:lnTo>
                  <a:pt x="581" y="226"/>
                </a:lnTo>
                <a:lnTo>
                  <a:pt x="583" y="224"/>
                </a:lnTo>
                <a:lnTo>
                  <a:pt x="587" y="226"/>
                </a:lnTo>
                <a:lnTo>
                  <a:pt x="585" y="230"/>
                </a:lnTo>
                <a:lnTo>
                  <a:pt x="585" y="228"/>
                </a:lnTo>
                <a:lnTo>
                  <a:pt x="587" y="230"/>
                </a:lnTo>
                <a:lnTo>
                  <a:pt x="579" y="234"/>
                </a:lnTo>
                <a:lnTo>
                  <a:pt x="573" y="239"/>
                </a:lnTo>
                <a:lnTo>
                  <a:pt x="573" y="241"/>
                </a:lnTo>
                <a:lnTo>
                  <a:pt x="570" y="241"/>
                </a:lnTo>
                <a:lnTo>
                  <a:pt x="572" y="243"/>
                </a:lnTo>
                <a:lnTo>
                  <a:pt x="570" y="243"/>
                </a:lnTo>
                <a:lnTo>
                  <a:pt x="568" y="243"/>
                </a:lnTo>
                <a:lnTo>
                  <a:pt x="570" y="245"/>
                </a:lnTo>
                <a:lnTo>
                  <a:pt x="566" y="249"/>
                </a:lnTo>
                <a:lnTo>
                  <a:pt x="562" y="251"/>
                </a:lnTo>
                <a:lnTo>
                  <a:pt x="562" y="253"/>
                </a:lnTo>
                <a:lnTo>
                  <a:pt x="560" y="253"/>
                </a:lnTo>
                <a:lnTo>
                  <a:pt x="562" y="254"/>
                </a:lnTo>
                <a:lnTo>
                  <a:pt x="560" y="258"/>
                </a:lnTo>
                <a:lnTo>
                  <a:pt x="557" y="258"/>
                </a:lnTo>
                <a:lnTo>
                  <a:pt x="558" y="258"/>
                </a:lnTo>
                <a:lnTo>
                  <a:pt x="557" y="264"/>
                </a:lnTo>
                <a:lnTo>
                  <a:pt x="555" y="268"/>
                </a:lnTo>
                <a:lnTo>
                  <a:pt x="551" y="275"/>
                </a:lnTo>
                <a:lnTo>
                  <a:pt x="553" y="275"/>
                </a:lnTo>
                <a:lnTo>
                  <a:pt x="551" y="285"/>
                </a:lnTo>
                <a:lnTo>
                  <a:pt x="551" y="286"/>
                </a:lnTo>
                <a:lnTo>
                  <a:pt x="553" y="283"/>
                </a:lnTo>
                <a:lnTo>
                  <a:pt x="551" y="288"/>
                </a:lnTo>
                <a:lnTo>
                  <a:pt x="551" y="294"/>
                </a:lnTo>
                <a:lnTo>
                  <a:pt x="549" y="302"/>
                </a:lnTo>
                <a:lnTo>
                  <a:pt x="549" y="309"/>
                </a:lnTo>
                <a:lnTo>
                  <a:pt x="545" y="305"/>
                </a:lnTo>
                <a:lnTo>
                  <a:pt x="545" y="303"/>
                </a:lnTo>
                <a:lnTo>
                  <a:pt x="547" y="305"/>
                </a:lnTo>
                <a:lnTo>
                  <a:pt x="549" y="303"/>
                </a:lnTo>
                <a:lnTo>
                  <a:pt x="549" y="296"/>
                </a:lnTo>
                <a:lnTo>
                  <a:pt x="549" y="294"/>
                </a:lnTo>
                <a:lnTo>
                  <a:pt x="549" y="288"/>
                </a:lnTo>
                <a:lnTo>
                  <a:pt x="549" y="286"/>
                </a:lnTo>
                <a:lnTo>
                  <a:pt x="547" y="279"/>
                </a:lnTo>
                <a:lnTo>
                  <a:pt x="543" y="273"/>
                </a:lnTo>
                <a:lnTo>
                  <a:pt x="543" y="268"/>
                </a:lnTo>
                <a:lnTo>
                  <a:pt x="543" y="273"/>
                </a:lnTo>
                <a:lnTo>
                  <a:pt x="540" y="268"/>
                </a:lnTo>
                <a:lnTo>
                  <a:pt x="543" y="273"/>
                </a:lnTo>
                <a:lnTo>
                  <a:pt x="543" y="275"/>
                </a:lnTo>
                <a:lnTo>
                  <a:pt x="545" y="281"/>
                </a:lnTo>
                <a:lnTo>
                  <a:pt x="547" y="286"/>
                </a:lnTo>
                <a:lnTo>
                  <a:pt x="547" y="294"/>
                </a:lnTo>
                <a:lnTo>
                  <a:pt x="545" y="294"/>
                </a:lnTo>
                <a:lnTo>
                  <a:pt x="543" y="300"/>
                </a:lnTo>
                <a:lnTo>
                  <a:pt x="542" y="302"/>
                </a:lnTo>
                <a:lnTo>
                  <a:pt x="538" y="302"/>
                </a:lnTo>
                <a:lnTo>
                  <a:pt x="530" y="302"/>
                </a:lnTo>
                <a:lnTo>
                  <a:pt x="526" y="303"/>
                </a:lnTo>
                <a:lnTo>
                  <a:pt x="526" y="302"/>
                </a:lnTo>
                <a:lnTo>
                  <a:pt x="526" y="300"/>
                </a:lnTo>
                <a:lnTo>
                  <a:pt x="525" y="300"/>
                </a:lnTo>
                <a:lnTo>
                  <a:pt x="525" y="302"/>
                </a:lnTo>
                <a:lnTo>
                  <a:pt x="525" y="300"/>
                </a:lnTo>
                <a:lnTo>
                  <a:pt x="526" y="302"/>
                </a:lnTo>
                <a:lnTo>
                  <a:pt x="525" y="303"/>
                </a:lnTo>
                <a:lnTo>
                  <a:pt x="517" y="305"/>
                </a:lnTo>
                <a:lnTo>
                  <a:pt x="513" y="307"/>
                </a:lnTo>
                <a:lnTo>
                  <a:pt x="515" y="303"/>
                </a:lnTo>
                <a:lnTo>
                  <a:pt x="513" y="305"/>
                </a:lnTo>
                <a:lnTo>
                  <a:pt x="513" y="302"/>
                </a:lnTo>
                <a:lnTo>
                  <a:pt x="511" y="303"/>
                </a:lnTo>
                <a:lnTo>
                  <a:pt x="513" y="307"/>
                </a:lnTo>
                <a:lnTo>
                  <a:pt x="510" y="305"/>
                </a:lnTo>
                <a:lnTo>
                  <a:pt x="511" y="307"/>
                </a:lnTo>
                <a:lnTo>
                  <a:pt x="510" y="309"/>
                </a:lnTo>
                <a:lnTo>
                  <a:pt x="508" y="309"/>
                </a:lnTo>
                <a:lnTo>
                  <a:pt x="500" y="313"/>
                </a:lnTo>
                <a:lnTo>
                  <a:pt x="498" y="315"/>
                </a:lnTo>
                <a:lnTo>
                  <a:pt x="496" y="313"/>
                </a:lnTo>
                <a:lnTo>
                  <a:pt x="500" y="311"/>
                </a:lnTo>
                <a:lnTo>
                  <a:pt x="496" y="313"/>
                </a:lnTo>
                <a:lnTo>
                  <a:pt x="493" y="309"/>
                </a:lnTo>
                <a:lnTo>
                  <a:pt x="489" y="307"/>
                </a:lnTo>
                <a:lnTo>
                  <a:pt x="485" y="303"/>
                </a:lnTo>
                <a:lnTo>
                  <a:pt x="483" y="303"/>
                </a:lnTo>
                <a:lnTo>
                  <a:pt x="483" y="302"/>
                </a:lnTo>
                <a:lnTo>
                  <a:pt x="479" y="300"/>
                </a:lnTo>
                <a:lnTo>
                  <a:pt x="474" y="296"/>
                </a:lnTo>
                <a:lnTo>
                  <a:pt x="472" y="294"/>
                </a:lnTo>
                <a:lnTo>
                  <a:pt x="468" y="290"/>
                </a:lnTo>
                <a:lnTo>
                  <a:pt x="457" y="283"/>
                </a:lnTo>
                <a:lnTo>
                  <a:pt x="455" y="283"/>
                </a:lnTo>
                <a:lnTo>
                  <a:pt x="455" y="281"/>
                </a:lnTo>
                <a:lnTo>
                  <a:pt x="451" y="279"/>
                </a:lnTo>
                <a:lnTo>
                  <a:pt x="446" y="273"/>
                </a:lnTo>
                <a:lnTo>
                  <a:pt x="442" y="271"/>
                </a:lnTo>
                <a:lnTo>
                  <a:pt x="436" y="268"/>
                </a:lnTo>
                <a:lnTo>
                  <a:pt x="430" y="264"/>
                </a:lnTo>
                <a:lnTo>
                  <a:pt x="425" y="260"/>
                </a:lnTo>
                <a:lnTo>
                  <a:pt x="421" y="254"/>
                </a:lnTo>
                <a:lnTo>
                  <a:pt x="419" y="254"/>
                </a:lnTo>
                <a:lnTo>
                  <a:pt x="417" y="253"/>
                </a:lnTo>
                <a:lnTo>
                  <a:pt x="412" y="249"/>
                </a:lnTo>
                <a:lnTo>
                  <a:pt x="410" y="247"/>
                </a:lnTo>
                <a:lnTo>
                  <a:pt x="408" y="245"/>
                </a:lnTo>
                <a:lnTo>
                  <a:pt x="402" y="241"/>
                </a:lnTo>
                <a:lnTo>
                  <a:pt x="397" y="238"/>
                </a:lnTo>
                <a:lnTo>
                  <a:pt x="391" y="234"/>
                </a:lnTo>
                <a:lnTo>
                  <a:pt x="383" y="234"/>
                </a:lnTo>
                <a:lnTo>
                  <a:pt x="382" y="234"/>
                </a:lnTo>
                <a:lnTo>
                  <a:pt x="374" y="236"/>
                </a:lnTo>
                <a:lnTo>
                  <a:pt x="368" y="236"/>
                </a:lnTo>
                <a:lnTo>
                  <a:pt x="365" y="238"/>
                </a:lnTo>
                <a:lnTo>
                  <a:pt x="363" y="238"/>
                </a:lnTo>
                <a:lnTo>
                  <a:pt x="359" y="238"/>
                </a:lnTo>
                <a:lnTo>
                  <a:pt x="353" y="238"/>
                </a:lnTo>
                <a:lnTo>
                  <a:pt x="350" y="239"/>
                </a:lnTo>
                <a:lnTo>
                  <a:pt x="344" y="239"/>
                </a:lnTo>
                <a:lnTo>
                  <a:pt x="340" y="239"/>
                </a:lnTo>
                <a:lnTo>
                  <a:pt x="333" y="241"/>
                </a:lnTo>
                <a:lnTo>
                  <a:pt x="329" y="241"/>
                </a:lnTo>
                <a:lnTo>
                  <a:pt x="321" y="241"/>
                </a:lnTo>
                <a:lnTo>
                  <a:pt x="316" y="243"/>
                </a:lnTo>
                <a:lnTo>
                  <a:pt x="306" y="243"/>
                </a:lnTo>
                <a:lnTo>
                  <a:pt x="306" y="245"/>
                </a:lnTo>
                <a:lnTo>
                  <a:pt x="297" y="245"/>
                </a:lnTo>
                <a:lnTo>
                  <a:pt x="297" y="239"/>
                </a:lnTo>
                <a:lnTo>
                  <a:pt x="297" y="234"/>
                </a:lnTo>
                <a:lnTo>
                  <a:pt x="293" y="230"/>
                </a:lnTo>
                <a:lnTo>
                  <a:pt x="291" y="228"/>
                </a:lnTo>
                <a:lnTo>
                  <a:pt x="286" y="222"/>
                </a:lnTo>
                <a:lnTo>
                  <a:pt x="282" y="217"/>
                </a:lnTo>
                <a:lnTo>
                  <a:pt x="280" y="219"/>
                </a:lnTo>
                <a:lnTo>
                  <a:pt x="272" y="224"/>
                </a:lnTo>
                <a:lnTo>
                  <a:pt x="271" y="221"/>
                </a:lnTo>
                <a:lnTo>
                  <a:pt x="272" y="219"/>
                </a:lnTo>
                <a:lnTo>
                  <a:pt x="271" y="217"/>
                </a:lnTo>
                <a:lnTo>
                  <a:pt x="272" y="215"/>
                </a:lnTo>
                <a:lnTo>
                  <a:pt x="267" y="215"/>
                </a:lnTo>
                <a:lnTo>
                  <a:pt x="265" y="215"/>
                </a:lnTo>
                <a:lnTo>
                  <a:pt x="259" y="215"/>
                </a:lnTo>
                <a:lnTo>
                  <a:pt x="254" y="215"/>
                </a:lnTo>
                <a:lnTo>
                  <a:pt x="248" y="217"/>
                </a:lnTo>
                <a:lnTo>
                  <a:pt x="244" y="217"/>
                </a:lnTo>
                <a:lnTo>
                  <a:pt x="239" y="217"/>
                </a:lnTo>
                <a:lnTo>
                  <a:pt x="237" y="217"/>
                </a:lnTo>
                <a:lnTo>
                  <a:pt x="227" y="219"/>
                </a:lnTo>
                <a:lnTo>
                  <a:pt x="218" y="219"/>
                </a:lnTo>
                <a:lnTo>
                  <a:pt x="214" y="219"/>
                </a:lnTo>
                <a:lnTo>
                  <a:pt x="208" y="221"/>
                </a:lnTo>
                <a:lnTo>
                  <a:pt x="203" y="221"/>
                </a:lnTo>
                <a:lnTo>
                  <a:pt x="197" y="221"/>
                </a:lnTo>
                <a:lnTo>
                  <a:pt x="192" y="221"/>
                </a:lnTo>
                <a:lnTo>
                  <a:pt x="184" y="222"/>
                </a:lnTo>
                <a:lnTo>
                  <a:pt x="180" y="222"/>
                </a:lnTo>
                <a:lnTo>
                  <a:pt x="176" y="222"/>
                </a:lnTo>
                <a:lnTo>
                  <a:pt x="169" y="222"/>
                </a:lnTo>
                <a:lnTo>
                  <a:pt x="165" y="226"/>
                </a:lnTo>
                <a:lnTo>
                  <a:pt x="161" y="224"/>
                </a:lnTo>
                <a:lnTo>
                  <a:pt x="161" y="226"/>
                </a:lnTo>
                <a:lnTo>
                  <a:pt x="158" y="222"/>
                </a:lnTo>
                <a:lnTo>
                  <a:pt x="156" y="228"/>
                </a:lnTo>
                <a:lnTo>
                  <a:pt x="152" y="228"/>
                </a:lnTo>
                <a:lnTo>
                  <a:pt x="148" y="230"/>
                </a:lnTo>
                <a:lnTo>
                  <a:pt x="146" y="230"/>
                </a:lnTo>
                <a:lnTo>
                  <a:pt x="144" y="232"/>
                </a:lnTo>
                <a:lnTo>
                  <a:pt x="137" y="236"/>
                </a:lnTo>
                <a:lnTo>
                  <a:pt x="135" y="236"/>
                </a:lnTo>
                <a:lnTo>
                  <a:pt x="135" y="238"/>
                </a:lnTo>
                <a:lnTo>
                  <a:pt x="133" y="239"/>
                </a:lnTo>
                <a:lnTo>
                  <a:pt x="129" y="241"/>
                </a:lnTo>
                <a:lnTo>
                  <a:pt x="128" y="243"/>
                </a:lnTo>
                <a:lnTo>
                  <a:pt x="128" y="239"/>
                </a:lnTo>
                <a:lnTo>
                  <a:pt x="124" y="243"/>
                </a:lnTo>
                <a:lnTo>
                  <a:pt x="114" y="247"/>
                </a:lnTo>
                <a:lnTo>
                  <a:pt x="112" y="247"/>
                </a:lnTo>
                <a:lnTo>
                  <a:pt x="111" y="249"/>
                </a:lnTo>
                <a:lnTo>
                  <a:pt x="109" y="249"/>
                </a:lnTo>
                <a:lnTo>
                  <a:pt x="101" y="253"/>
                </a:lnTo>
                <a:lnTo>
                  <a:pt x="97" y="253"/>
                </a:lnTo>
                <a:lnTo>
                  <a:pt x="90" y="254"/>
                </a:lnTo>
                <a:lnTo>
                  <a:pt x="86" y="254"/>
                </a:lnTo>
                <a:lnTo>
                  <a:pt x="79" y="256"/>
                </a:lnTo>
                <a:lnTo>
                  <a:pt x="71" y="256"/>
                </a:lnTo>
                <a:lnTo>
                  <a:pt x="69" y="256"/>
                </a:lnTo>
                <a:lnTo>
                  <a:pt x="65" y="258"/>
                </a:lnTo>
                <a:lnTo>
                  <a:pt x="60" y="258"/>
                </a:lnTo>
                <a:lnTo>
                  <a:pt x="58" y="258"/>
                </a:lnTo>
                <a:lnTo>
                  <a:pt x="49" y="260"/>
                </a:lnTo>
                <a:lnTo>
                  <a:pt x="41" y="260"/>
                </a:lnTo>
                <a:lnTo>
                  <a:pt x="33" y="262"/>
                </a:lnTo>
                <a:lnTo>
                  <a:pt x="24" y="262"/>
                </a:lnTo>
                <a:lnTo>
                  <a:pt x="20" y="264"/>
                </a:lnTo>
                <a:lnTo>
                  <a:pt x="11" y="264"/>
                </a:lnTo>
                <a:lnTo>
                  <a:pt x="7" y="264"/>
                </a:lnTo>
                <a:lnTo>
                  <a:pt x="1" y="266"/>
                </a:lnTo>
                <a:lnTo>
                  <a:pt x="1" y="264"/>
                </a:lnTo>
                <a:lnTo>
                  <a:pt x="1" y="256"/>
                </a:lnTo>
                <a:lnTo>
                  <a:pt x="0" y="251"/>
                </a:lnTo>
                <a:lnTo>
                  <a:pt x="1" y="245"/>
                </a:lnTo>
                <a:lnTo>
                  <a:pt x="1" y="241"/>
                </a:lnTo>
                <a:lnTo>
                  <a:pt x="5" y="236"/>
                </a:lnTo>
                <a:lnTo>
                  <a:pt x="9" y="238"/>
                </a:lnTo>
                <a:lnTo>
                  <a:pt x="15" y="238"/>
                </a:lnTo>
                <a:lnTo>
                  <a:pt x="20" y="234"/>
                </a:lnTo>
                <a:lnTo>
                  <a:pt x="22" y="230"/>
                </a:lnTo>
                <a:lnTo>
                  <a:pt x="20" y="226"/>
                </a:lnTo>
                <a:lnTo>
                  <a:pt x="22" y="222"/>
                </a:lnTo>
                <a:lnTo>
                  <a:pt x="20" y="219"/>
                </a:lnTo>
                <a:lnTo>
                  <a:pt x="26" y="213"/>
                </a:lnTo>
                <a:lnTo>
                  <a:pt x="30" y="211"/>
                </a:lnTo>
                <a:lnTo>
                  <a:pt x="32" y="207"/>
                </a:lnTo>
                <a:lnTo>
                  <a:pt x="35" y="206"/>
                </a:lnTo>
                <a:lnTo>
                  <a:pt x="39" y="202"/>
                </a:lnTo>
                <a:lnTo>
                  <a:pt x="47" y="200"/>
                </a:lnTo>
                <a:lnTo>
                  <a:pt x="50" y="200"/>
                </a:lnTo>
                <a:lnTo>
                  <a:pt x="52" y="198"/>
                </a:lnTo>
                <a:lnTo>
                  <a:pt x="56" y="200"/>
                </a:lnTo>
                <a:lnTo>
                  <a:pt x="62" y="198"/>
                </a:lnTo>
                <a:lnTo>
                  <a:pt x="65" y="192"/>
                </a:lnTo>
                <a:lnTo>
                  <a:pt x="71" y="190"/>
                </a:lnTo>
                <a:lnTo>
                  <a:pt x="73" y="187"/>
                </a:lnTo>
                <a:lnTo>
                  <a:pt x="79" y="187"/>
                </a:lnTo>
                <a:lnTo>
                  <a:pt x="81" y="183"/>
                </a:lnTo>
                <a:lnTo>
                  <a:pt x="81" y="179"/>
                </a:lnTo>
                <a:lnTo>
                  <a:pt x="86" y="179"/>
                </a:lnTo>
                <a:lnTo>
                  <a:pt x="88" y="174"/>
                </a:lnTo>
                <a:lnTo>
                  <a:pt x="92" y="174"/>
                </a:lnTo>
                <a:lnTo>
                  <a:pt x="96" y="172"/>
                </a:lnTo>
                <a:lnTo>
                  <a:pt x="101" y="172"/>
                </a:lnTo>
                <a:lnTo>
                  <a:pt x="105" y="170"/>
                </a:lnTo>
                <a:lnTo>
                  <a:pt x="105" y="166"/>
                </a:lnTo>
                <a:lnTo>
                  <a:pt x="107" y="164"/>
                </a:lnTo>
                <a:lnTo>
                  <a:pt x="107" y="162"/>
                </a:lnTo>
                <a:lnTo>
                  <a:pt x="109" y="160"/>
                </a:lnTo>
                <a:lnTo>
                  <a:pt x="105" y="155"/>
                </a:lnTo>
                <a:lnTo>
                  <a:pt x="107" y="155"/>
                </a:lnTo>
                <a:lnTo>
                  <a:pt x="107" y="153"/>
                </a:lnTo>
                <a:lnTo>
                  <a:pt x="109" y="153"/>
                </a:lnTo>
                <a:lnTo>
                  <a:pt x="114" y="155"/>
                </a:lnTo>
                <a:lnTo>
                  <a:pt x="116" y="149"/>
                </a:lnTo>
                <a:lnTo>
                  <a:pt x="116" y="147"/>
                </a:lnTo>
                <a:lnTo>
                  <a:pt x="118" y="145"/>
                </a:lnTo>
                <a:lnTo>
                  <a:pt x="124" y="140"/>
                </a:lnTo>
                <a:lnTo>
                  <a:pt x="128" y="138"/>
                </a:lnTo>
                <a:lnTo>
                  <a:pt x="131" y="142"/>
                </a:lnTo>
                <a:lnTo>
                  <a:pt x="129" y="145"/>
                </a:lnTo>
                <a:lnTo>
                  <a:pt x="131" y="147"/>
                </a:lnTo>
                <a:lnTo>
                  <a:pt x="135" y="149"/>
                </a:lnTo>
                <a:lnTo>
                  <a:pt x="135" y="147"/>
                </a:lnTo>
                <a:lnTo>
                  <a:pt x="143" y="142"/>
                </a:lnTo>
                <a:lnTo>
                  <a:pt x="146" y="134"/>
                </a:lnTo>
                <a:lnTo>
                  <a:pt x="150" y="130"/>
                </a:lnTo>
                <a:lnTo>
                  <a:pt x="156" y="128"/>
                </a:lnTo>
                <a:lnTo>
                  <a:pt x="160" y="128"/>
                </a:lnTo>
                <a:lnTo>
                  <a:pt x="161" y="125"/>
                </a:lnTo>
                <a:lnTo>
                  <a:pt x="163" y="126"/>
                </a:lnTo>
                <a:lnTo>
                  <a:pt x="167" y="125"/>
                </a:lnTo>
                <a:lnTo>
                  <a:pt x="169" y="128"/>
                </a:lnTo>
                <a:lnTo>
                  <a:pt x="173" y="128"/>
                </a:lnTo>
                <a:lnTo>
                  <a:pt x="175" y="126"/>
                </a:lnTo>
                <a:lnTo>
                  <a:pt x="176" y="126"/>
                </a:lnTo>
                <a:lnTo>
                  <a:pt x="176" y="125"/>
                </a:lnTo>
                <a:lnTo>
                  <a:pt x="178" y="121"/>
                </a:lnTo>
                <a:lnTo>
                  <a:pt x="180" y="115"/>
                </a:lnTo>
                <a:lnTo>
                  <a:pt x="182" y="111"/>
                </a:lnTo>
                <a:lnTo>
                  <a:pt x="184" y="106"/>
                </a:lnTo>
                <a:lnTo>
                  <a:pt x="188" y="102"/>
                </a:lnTo>
                <a:lnTo>
                  <a:pt x="193" y="98"/>
                </a:lnTo>
                <a:lnTo>
                  <a:pt x="195" y="100"/>
                </a:lnTo>
                <a:lnTo>
                  <a:pt x="199" y="100"/>
                </a:lnTo>
                <a:lnTo>
                  <a:pt x="195" y="93"/>
                </a:lnTo>
                <a:lnTo>
                  <a:pt x="199" y="87"/>
                </a:lnTo>
                <a:lnTo>
                  <a:pt x="197" y="79"/>
                </a:lnTo>
                <a:lnTo>
                  <a:pt x="199" y="7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553972" y="6278400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433118"/>
            <a:ext cx="9966960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440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6368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AF070B-D310-48C3-8BF5-B595CADB9A7F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EC36489-1019-4DE2-8926-CC1AA39FD102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900C197-4F30-4CDD-A0AC-513B1D153563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DB12EEC-9C37-4FAD-8211-9294CFF08CB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A84DC8F-1943-41BA-B074-652414A43B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22FA673E-F4F3-41DD-B590-72454F6918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9EAEA71-7F4B-4650-8E80-5ED026F114D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F839EBB-95AB-4353-8BE6-BF0FDF66AAF7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66989AEC-0739-4454-AC9F-66603407B382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ED166C2-BF73-4C31-9C1B-2D3A3F385C0F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5449F18-993D-46DC-A55F-C7C620DECD8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0B7CBF8C-BC6A-40F9-990F-045B10495F4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BA8FEA-7343-452A-9034-390B49B6CF0B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EF66801-8719-4BA7-A889-C0F14445F4A6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25AD89A-FD7A-45D5-8F3E-EBBEA66A328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52E80B6-F597-41E1-8EEB-1DEC9BF441B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872AD12-0FD0-4982-AD8E-E450B080DCA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6D3FE01-CA4F-45D4-B4AF-C1B071E21FF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2FA63FA-AA7F-4515-943E-52D962D3887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B7B1BE-E762-4EDF-A118-83E5B8153D6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D826D7C2-9A3B-4167-AC41-C06CB863157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39689B4B-9B7E-4615-B440-C512C549B76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9F83889-7070-49B4-9F2E-6E261BFB942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0BF0BF9-3CB7-4050-A907-9EE843B6C0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9F32427-AB16-4A20-8258-FEA91D6C2E8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76560A3-1846-4FD0-8EFF-FF2E2846FD7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7BBC780-E3D6-4E2A-9104-A49F92BC54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CC16B935-1E7B-4FCA-BFFE-502B1D5DA6D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3F78791-754B-4717-9F16-A6F6758B978A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19761C-05D6-4F1A-9855-FA750D313CD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8482EC9C-BDCD-4714-A1D0-B5FCD5D652A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DEE194C0-9A26-4C18-9FBA-1D3301B0464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EA38251-8247-4ED7-BADA-F3661656CA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089FF35-1CB0-4042-A298-487986B4079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5DFDD967-E322-4BEA-9F8B-80607C37A6B1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384491A-4834-4284-B248-E8F02FE16633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517DF42-9850-48C2-868A-DCB2DF77A6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5917A1B-0B69-4860-8869-1F24B059AEB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1A50A59-39E8-4320-BE84-64262A09FFF9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78691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  <p:sldLayoutId id="2147484424" r:id="rId5"/>
    <p:sldLayoutId id="2147484425" r:id="rId6"/>
    <p:sldLayoutId id="2147484426" r:id="rId7"/>
    <p:sldLayoutId id="2147484427" r:id="rId8"/>
    <p:sldLayoutId id="2147484428" r:id="rId9"/>
    <p:sldLayoutId id="2147484429" r:id="rId10"/>
    <p:sldLayoutId id="2147484430" r:id="rId11"/>
    <p:sldLayoutId id="2147484431" r:id="rId12"/>
    <p:sldLayoutId id="2147484432" r:id="rId13"/>
    <p:sldLayoutId id="2147484433" r:id="rId14"/>
    <p:sldLayoutId id="2147484434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60400" indent="-1889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25538" indent="-2111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08.xml"/><Relationship Id="rId13" Type="http://schemas.openxmlformats.org/officeDocument/2006/relationships/tags" Target="../tags/tag913.xml"/><Relationship Id="rId18" Type="http://schemas.openxmlformats.org/officeDocument/2006/relationships/image" Target="../media/image2.emf"/><Relationship Id="rId3" Type="http://schemas.openxmlformats.org/officeDocument/2006/relationships/tags" Target="../tags/tag903.xml"/><Relationship Id="rId21" Type="http://schemas.openxmlformats.org/officeDocument/2006/relationships/image" Target="../media/image11.svg"/><Relationship Id="rId7" Type="http://schemas.openxmlformats.org/officeDocument/2006/relationships/tags" Target="../tags/tag907.xml"/><Relationship Id="rId12" Type="http://schemas.openxmlformats.org/officeDocument/2006/relationships/tags" Target="../tags/tag912.xml"/><Relationship Id="rId17" Type="http://schemas.openxmlformats.org/officeDocument/2006/relationships/oleObject" Target="../embeddings/oleObject125.bin"/><Relationship Id="rId25" Type="http://schemas.openxmlformats.org/officeDocument/2006/relationships/image" Target="../media/image15.svg"/><Relationship Id="rId2" Type="http://schemas.openxmlformats.org/officeDocument/2006/relationships/tags" Target="../tags/tag902.xml"/><Relationship Id="rId16" Type="http://schemas.openxmlformats.org/officeDocument/2006/relationships/notesSlide" Target="../notesSlides/notesSlide1.xml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125.vml"/><Relationship Id="rId6" Type="http://schemas.openxmlformats.org/officeDocument/2006/relationships/tags" Target="../tags/tag906.xml"/><Relationship Id="rId11" Type="http://schemas.openxmlformats.org/officeDocument/2006/relationships/tags" Target="../tags/tag911.xml"/><Relationship Id="rId24" Type="http://schemas.openxmlformats.org/officeDocument/2006/relationships/image" Target="../media/image14.png"/><Relationship Id="rId5" Type="http://schemas.openxmlformats.org/officeDocument/2006/relationships/tags" Target="../tags/tag905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3.svg"/><Relationship Id="rId10" Type="http://schemas.openxmlformats.org/officeDocument/2006/relationships/tags" Target="../tags/tag910.xml"/><Relationship Id="rId19" Type="http://schemas.openxmlformats.org/officeDocument/2006/relationships/image" Target="../media/image9.png"/><Relationship Id="rId4" Type="http://schemas.openxmlformats.org/officeDocument/2006/relationships/tags" Target="../tags/tag904.xml"/><Relationship Id="rId9" Type="http://schemas.openxmlformats.org/officeDocument/2006/relationships/tags" Target="../tags/tag909.xml"/><Relationship Id="rId14" Type="http://schemas.openxmlformats.org/officeDocument/2006/relationships/tags" Target="../tags/tag914.xml"/><Relationship Id="rId22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16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7.svg"/><Relationship Id="rId2" Type="http://schemas.openxmlformats.org/officeDocument/2006/relationships/tags" Target="../tags/tag915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919.xml"/><Relationship Id="rId11" Type="http://schemas.openxmlformats.org/officeDocument/2006/relationships/image" Target="../media/image16.png"/><Relationship Id="rId5" Type="http://schemas.openxmlformats.org/officeDocument/2006/relationships/tags" Target="../tags/tag918.xml"/><Relationship Id="rId10" Type="http://schemas.openxmlformats.org/officeDocument/2006/relationships/image" Target="../media/image2.emf"/><Relationship Id="rId4" Type="http://schemas.openxmlformats.org/officeDocument/2006/relationships/tags" Target="../tags/tag917.xml"/><Relationship Id="rId9" Type="http://schemas.openxmlformats.org/officeDocument/2006/relationships/oleObject" Target="../embeddings/oleObject126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26.xml"/><Relationship Id="rId13" Type="http://schemas.openxmlformats.org/officeDocument/2006/relationships/tags" Target="../tags/tag931.xml"/><Relationship Id="rId18" Type="http://schemas.openxmlformats.org/officeDocument/2006/relationships/tags" Target="../tags/tag936.xml"/><Relationship Id="rId26" Type="http://schemas.openxmlformats.org/officeDocument/2006/relationships/tags" Target="../tags/tag944.xml"/><Relationship Id="rId39" Type="http://schemas.openxmlformats.org/officeDocument/2006/relationships/image" Target="../media/image23.svg"/><Relationship Id="rId3" Type="http://schemas.openxmlformats.org/officeDocument/2006/relationships/tags" Target="../tags/tag921.xml"/><Relationship Id="rId21" Type="http://schemas.openxmlformats.org/officeDocument/2006/relationships/tags" Target="../tags/tag939.xml"/><Relationship Id="rId34" Type="http://schemas.openxmlformats.org/officeDocument/2006/relationships/image" Target="../media/image18.png"/><Relationship Id="rId7" Type="http://schemas.openxmlformats.org/officeDocument/2006/relationships/tags" Target="../tags/tag925.xml"/><Relationship Id="rId12" Type="http://schemas.openxmlformats.org/officeDocument/2006/relationships/tags" Target="../tags/tag930.xml"/><Relationship Id="rId17" Type="http://schemas.openxmlformats.org/officeDocument/2006/relationships/tags" Target="../tags/tag935.xml"/><Relationship Id="rId25" Type="http://schemas.openxmlformats.org/officeDocument/2006/relationships/tags" Target="../tags/tag943.xml"/><Relationship Id="rId33" Type="http://schemas.openxmlformats.org/officeDocument/2006/relationships/image" Target="../media/image2.emf"/><Relationship Id="rId38" Type="http://schemas.openxmlformats.org/officeDocument/2006/relationships/image" Target="../media/image22.png"/><Relationship Id="rId2" Type="http://schemas.openxmlformats.org/officeDocument/2006/relationships/tags" Target="../tags/tag920.xml"/><Relationship Id="rId16" Type="http://schemas.openxmlformats.org/officeDocument/2006/relationships/tags" Target="../tags/tag934.xml"/><Relationship Id="rId20" Type="http://schemas.openxmlformats.org/officeDocument/2006/relationships/tags" Target="../tags/tag938.xml"/><Relationship Id="rId29" Type="http://schemas.openxmlformats.org/officeDocument/2006/relationships/tags" Target="../tags/tag947.xml"/><Relationship Id="rId41" Type="http://schemas.openxmlformats.org/officeDocument/2006/relationships/image" Target="../media/image25.svg"/><Relationship Id="rId1" Type="http://schemas.openxmlformats.org/officeDocument/2006/relationships/vmlDrawing" Target="../drawings/vmlDrawing127.vml"/><Relationship Id="rId6" Type="http://schemas.openxmlformats.org/officeDocument/2006/relationships/tags" Target="../tags/tag924.xml"/><Relationship Id="rId11" Type="http://schemas.openxmlformats.org/officeDocument/2006/relationships/tags" Target="../tags/tag929.xml"/><Relationship Id="rId24" Type="http://schemas.openxmlformats.org/officeDocument/2006/relationships/tags" Target="../tags/tag942.xml"/><Relationship Id="rId32" Type="http://schemas.openxmlformats.org/officeDocument/2006/relationships/oleObject" Target="../embeddings/oleObject127.bin"/><Relationship Id="rId37" Type="http://schemas.openxmlformats.org/officeDocument/2006/relationships/image" Target="../media/image21.svg"/><Relationship Id="rId40" Type="http://schemas.openxmlformats.org/officeDocument/2006/relationships/image" Target="../media/image24.png"/><Relationship Id="rId5" Type="http://schemas.openxmlformats.org/officeDocument/2006/relationships/tags" Target="../tags/tag923.xml"/><Relationship Id="rId15" Type="http://schemas.openxmlformats.org/officeDocument/2006/relationships/tags" Target="../tags/tag933.xml"/><Relationship Id="rId23" Type="http://schemas.openxmlformats.org/officeDocument/2006/relationships/tags" Target="../tags/tag941.xml"/><Relationship Id="rId28" Type="http://schemas.openxmlformats.org/officeDocument/2006/relationships/tags" Target="../tags/tag946.xml"/><Relationship Id="rId36" Type="http://schemas.openxmlformats.org/officeDocument/2006/relationships/image" Target="../media/image20.png"/><Relationship Id="rId10" Type="http://schemas.openxmlformats.org/officeDocument/2006/relationships/tags" Target="../tags/tag928.xml"/><Relationship Id="rId19" Type="http://schemas.openxmlformats.org/officeDocument/2006/relationships/tags" Target="../tags/tag937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922.xml"/><Relationship Id="rId9" Type="http://schemas.openxmlformats.org/officeDocument/2006/relationships/tags" Target="../tags/tag927.xml"/><Relationship Id="rId14" Type="http://schemas.openxmlformats.org/officeDocument/2006/relationships/tags" Target="../tags/tag932.xml"/><Relationship Id="rId22" Type="http://schemas.openxmlformats.org/officeDocument/2006/relationships/tags" Target="../tags/tag940.xml"/><Relationship Id="rId27" Type="http://schemas.openxmlformats.org/officeDocument/2006/relationships/tags" Target="../tags/tag945.xml"/><Relationship Id="rId30" Type="http://schemas.openxmlformats.org/officeDocument/2006/relationships/slideLayout" Target="../slideLayouts/slideLayout2.xml"/><Relationship Id="rId35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54.xml"/><Relationship Id="rId13" Type="http://schemas.openxmlformats.org/officeDocument/2006/relationships/tags" Target="../tags/tag959.xml"/><Relationship Id="rId18" Type="http://schemas.openxmlformats.org/officeDocument/2006/relationships/notesSlide" Target="../notesSlides/notesSlide4.xml"/><Relationship Id="rId26" Type="http://schemas.openxmlformats.org/officeDocument/2006/relationships/image" Target="../media/image31.png"/><Relationship Id="rId3" Type="http://schemas.openxmlformats.org/officeDocument/2006/relationships/tags" Target="../tags/tag949.xml"/><Relationship Id="rId21" Type="http://schemas.openxmlformats.org/officeDocument/2006/relationships/image" Target="../media/image26.png"/><Relationship Id="rId7" Type="http://schemas.openxmlformats.org/officeDocument/2006/relationships/tags" Target="../tags/tag953.xml"/><Relationship Id="rId12" Type="http://schemas.openxmlformats.org/officeDocument/2006/relationships/tags" Target="../tags/tag958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30.png"/><Relationship Id="rId2" Type="http://schemas.openxmlformats.org/officeDocument/2006/relationships/tags" Target="../tags/tag948.xml"/><Relationship Id="rId16" Type="http://schemas.openxmlformats.org/officeDocument/2006/relationships/tags" Target="../tags/tag962.xml"/><Relationship Id="rId20" Type="http://schemas.openxmlformats.org/officeDocument/2006/relationships/image" Target="../media/image2.emf"/><Relationship Id="rId1" Type="http://schemas.openxmlformats.org/officeDocument/2006/relationships/vmlDrawing" Target="../drawings/vmlDrawing128.vml"/><Relationship Id="rId6" Type="http://schemas.openxmlformats.org/officeDocument/2006/relationships/tags" Target="../tags/tag952.xml"/><Relationship Id="rId11" Type="http://schemas.openxmlformats.org/officeDocument/2006/relationships/tags" Target="../tags/tag957.xml"/><Relationship Id="rId24" Type="http://schemas.openxmlformats.org/officeDocument/2006/relationships/image" Target="../media/image29.svg"/><Relationship Id="rId5" Type="http://schemas.openxmlformats.org/officeDocument/2006/relationships/tags" Target="../tags/tag951.xml"/><Relationship Id="rId15" Type="http://schemas.openxmlformats.org/officeDocument/2006/relationships/tags" Target="../tags/tag961.xml"/><Relationship Id="rId23" Type="http://schemas.openxmlformats.org/officeDocument/2006/relationships/image" Target="../media/image28.png"/><Relationship Id="rId10" Type="http://schemas.openxmlformats.org/officeDocument/2006/relationships/tags" Target="../tags/tag956.xml"/><Relationship Id="rId19" Type="http://schemas.openxmlformats.org/officeDocument/2006/relationships/oleObject" Target="../embeddings/oleObject128.bin"/><Relationship Id="rId4" Type="http://schemas.openxmlformats.org/officeDocument/2006/relationships/tags" Target="../tags/tag950.xml"/><Relationship Id="rId9" Type="http://schemas.openxmlformats.org/officeDocument/2006/relationships/tags" Target="../tags/tag955.xml"/><Relationship Id="rId14" Type="http://schemas.openxmlformats.org/officeDocument/2006/relationships/tags" Target="../tags/tag960.xml"/><Relationship Id="rId22" Type="http://schemas.openxmlformats.org/officeDocument/2006/relationships/image" Target="../media/image27.svg"/><Relationship Id="rId27" Type="http://schemas.openxmlformats.org/officeDocument/2006/relationships/image" Target="../media/image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19C374-EDB5-40F1-A7CE-F6335F71E7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081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2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19C374-EDB5-40F1-A7CE-F6335F71E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58B5F9DD-93E8-4426-A826-6865AA232E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863796A-706A-4655-8E0A-0A52B372E67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54734" y="433118"/>
            <a:ext cx="996696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US" dirty="0"/>
              <a:t>The Digital Divide in North Carolina</a:t>
            </a:r>
            <a:r>
              <a:rPr lang="en-US" sz="1600" baseline="60000" dirty="0"/>
              <a:t>1</a:t>
            </a:r>
            <a:endParaRPr lang="en-US" baseline="60000" dirty="0"/>
          </a:p>
        </p:txBody>
      </p:sp>
      <p:sp>
        <p:nvSpPr>
          <p:cNvPr id="66" name="3. Subtitle">
            <a:extLst>
              <a:ext uri="{FF2B5EF4-FFF2-40B4-BE49-F238E27FC236}">
                <a16:creationId xmlns:a16="http://schemas.microsoft.com/office/drawing/2014/main" id="{C28B4491-CB21-4120-AC38-8130D4E7124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575825" y="2510228"/>
            <a:ext cx="406066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0400" indent="-1889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5538" indent="-2111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600" b="1" dirty="0"/>
              <a:t>Percent of Households Without a </a:t>
            </a:r>
            <a:br>
              <a:rPr lang="en-US" sz="1600" b="1" dirty="0"/>
            </a:br>
            <a:r>
              <a:rPr lang="en-US" sz="1600" b="1" dirty="0"/>
              <a:t>High-Speed Internet Subscription (2019)</a:t>
            </a:r>
            <a:r>
              <a:rPr lang="en-US" sz="1600" b="1" baseline="30000" dirty="0"/>
              <a:t>7</a:t>
            </a:r>
            <a:endParaRPr lang="en-US" sz="16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3BB5AF-4B1F-400F-9AA3-416A1AB5585A}"/>
              </a:ext>
            </a:extLst>
          </p:cNvPr>
          <p:cNvSpPr txBox="1"/>
          <p:nvPr/>
        </p:nvSpPr>
        <p:spPr bwMode="gray">
          <a:xfrm>
            <a:off x="554733" y="1250143"/>
            <a:ext cx="11081761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buClr>
                <a:srgbClr val="000000"/>
              </a:buClr>
              <a:buNone/>
            </a:pPr>
            <a:r>
              <a:rPr lang="en-US" sz="1800" b="1" dirty="0"/>
              <a:t>Approximately 1.1 million North Carolina households lack access to high-speed internet in their homes</a:t>
            </a:r>
            <a:r>
              <a:rPr lang="en-US" sz="1800" b="1" baseline="30000" dirty="0"/>
              <a:t>2</a:t>
            </a:r>
            <a:r>
              <a:rPr lang="en-US" sz="1800" b="1" dirty="0"/>
              <a:t> and cannot afford it. Many residents also lack the skills to effectively use it. We can </a:t>
            </a:r>
            <a:r>
              <a:rPr lang="en-US" sz="1800" b="1" dirty="0">
                <a:solidFill>
                  <a:srgbClr val="397AAC"/>
                </a:solidFill>
              </a:rPr>
              <a:t>achieve digital equity in North Carolina</a:t>
            </a:r>
            <a:r>
              <a:rPr lang="en-US" sz="1800" b="1" dirty="0"/>
              <a:t> by addressing the following factors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E52860-CF99-436C-A922-310F0BC5DAB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 bwMode="gray">
          <a:xfrm>
            <a:off x="7469206" y="3250530"/>
            <a:ext cx="4060663" cy="1535292"/>
          </a:xfrm>
          <a:prstGeom prst="rect">
            <a:avLst/>
          </a:prstGeom>
        </p:spPr>
      </p:pic>
      <p:sp>
        <p:nvSpPr>
          <p:cNvPr id="34" name="4. Footnote">
            <a:extLst>
              <a:ext uri="{FF2B5EF4-FFF2-40B4-BE49-F238E27FC236}">
                <a16:creationId xmlns:a16="http://schemas.microsoft.com/office/drawing/2014/main" id="{AFC7C5A4-6238-4C79-AF7B-389AD21DD6F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3960" y="5928285"/>
            <a:ext cx="11082528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28600" indent="-228600">
              <a:buFontTx/>
              <a:buAutoNum type="arabicPeriod"/>
            </a:pPr>
            <a:endParaRPr lang="en-US" dirty="0"/>
          </a:p>
          <a:p>
            <a:pPr marL="0" indent="0"/>
            <a:r>
              <a:rPr lang="en-US" dirty="0"/>
              <a:t>1. Data on this slide is based on a 2021 study by McKinsey &amp; Company. | 2. U.S. Census Bureau, 2019 American Community Survey (ACS) Microdata | 3. FCC Form 477, FCC 2019 block demographic estimates | 4. U.S. Census Bureau, 2019 American Community Survey (ACS) Microdata | 5. U.S. Census Bureau, 2019 American Community Survey (ACS) Microdata; 2021 Census Pulse Survey | 6. National Center for Education Statistics | 7. U.S. Census Bureau, 2019 American Community Survey (ASC) Microdata, for respondents who don't have an internet subscription or that only have cellular data or only have dial-up, satellite or other.</a:t>
            </a:r>
          </a:p>
          <a:p>
            <a:pPr marL="0" lvl="0" indent="0"/>
            <a:endParaRPr lang="en-US" dirty="0"/>
          </a:p>
          <a:p>
            <a:pPr marL="0" lvl="0" indent="0"/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C69E20E-7062-4113-B832-211AFEF1A270}"/>
              </a:ext>
            </a:extLst>
          </p:cNvPr>
          <p:cNvGrpSpPr/>
          <p:nvPr/>
        </p:nvGrpSpPr>
        <p:grpSpPr>
          <a:xfrm>
            <a:off x="7753808" y="4816079"/>
            <a:ext cx="1467317" cy="601226"/>
            <a:chOff x="8499643" y="1277272"/>
            <a:chExt cx="1467317" cy="601226"/>
          </a:xfrm>
        </p:grpSpPr>
        <p:sp>
          <p:nvSpPr>
            <p:cNvPr id="35" name="3. Subtitle">
              <a:extLst>
                <a:ext uri="{FF2B5EF4-FFF2-40B4-BE49-F238E27FC236}">
                  <a16:creationId xmlns:a16="http://schemas.microsoft.com/office/drawing/2014/main" id="{5A0800DA-3D36-42A4-B0DC-D098D346D5B7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8499643" y="1277272"/>
              <a:ext cx="1101557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8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-2254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0400" indent="-1889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460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5538" indent="-2111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0" indent="0">
                <a:buFont typeface="Wingdings" panose="05000000000000000000" pitchFamily="2" charset="2"/>
                <a:buNone/>
              </a:pPr>
              <a:r>
                <a:rPr lang="en-US" sz="1200" dirty="0"/>
                <a:t>% of  households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7D389AC-B5BE-4BF4-B52C-9A5545BBAF1E}"/>
                </a:ext>
              </a:extLst>
            </p:cNvPr>
            <p:cNvGrpSpPr/>
            <p:nvPr/>
          </p:nvGrpSpPr>
          <p:grpSpPr>
            <a:xfrm>
              <a:off x="8514080" y="1498600"/>
              <a:ext cx="1452880" cy="172720"/>
              <a:chOff x="8514080" y="1498600"/>
              <a:chExt cx="1452880" cy="17272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9BA2164-2B69-49EA-9448-F6589C75CCF1}"/>
                  </a:ext>
                </a:extLst>
              </p:cNvPr>
              <p:cNvSpPr/>
              <p:nvPr/>
            </p:nvSpPr>
            <p:spPr>
              <a:xfrm>
                <a:off x="8514080" y="1498600"/>
                <a:ext cx="274320" cy="172720"/>
              </a:xfrm>
              <a:prstGeom prst="rect">
                <a:avLst/>
              </a:prstGeom>
              <a:solidFill>
                <a:srgbClr val="3E97B4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E943A22-8B9F-4F47-9102-EA11468BAEA8}"/>
                  </a:ext>
                </a:extLst>
              </p:cNvPr>
              <p:cNvSpPr/>
              <p:nvPr/>
            </p:nvSpPr>
            <p:spPr>
              <a:xfrm>
                <a:off x="8808720" y="1498600"/>
                <a:ext cx="274320" cy="172720"/>
              </a:xfrm>
              <a:prstGeom prst="rect">
                <a:avLst/>
              </a:prstGeom>
              <a:solidFill>
                <a:srgbClr val="85B6C6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01E3789A-1E1A-4284-A374-37A2A7D5EB18}"/>
                  </a:ext>
                </a:extLst>
              </p:cNvPr>
              <p:cNvSpPr/>
              <p:nvPr/>
            </p:nvSpPr>
            <p:spPr>
              <a:xfrm>
                <a:off x="9103360" y="1498600"/>
                <a:ext cx="274320" cy="172720"/>
              </a:xfrm>
              <a:prstGeom prst="rect">
                <a:avLst/>
              </a:prstGeom>
              <a:solidFill>
                <a:srgbClr val="E9E9E9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DC01A93-59DF-4F27-8A0B-547AFF361AF7}"/>
                  </a:ext>
                </a:extLst>
              </p:cNvPr>
              <p:cNvSpPr/>
              <p:nvPr/>
            </p:nvSpPr>
            <p:spPr>
              <a:xfrm>
                <a:off x="9398000" y="1498600"/>
                <a:ext cx="274320" cy="172720"/>
              </a:xfrm>
              <a:prstGeom prst="rect">
                <a:avLst/>
              </a:prstGeom>
              <a:solidFill>
                <a:srgbClr val="DF9AA4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0723E7C-406F-457C-9DE4-2D9F724D73C7}"/>
                  </a:ext>
                </a:extLst>
              </p:cNvPr>
              <p:cNvSpPr/>
              <p:nvPr/>
            </p:nvSpPr>
            <p:spPr>
              <a:xfrm>
                <a:off x="9692640" y="1498600"/>
                <a:ext cx="274320" cy="172720"/>
              </a:xfrm>
              <a:prstGeom prst="rect">
                <a:avLst/>
              </a:prstGeom>
              <a:solidFill>
                <a:srgbClr val="E6576D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5" name="3. Subtitle">
              <a:extLst>
                <a:ext uri="{FF2B5EF4-FFF2-40B4-BE49-F238E27FC236}">
                  <a16:creationId xmlns:a16="http://schemas.microsoft.com/office/drawing/2014/main" id="{E55C76A3-9F92-4F99-816D-E2725E71C44E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499643" y="1693832"/>
              <a:ext cx="334477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8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-2254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0400" indent="-1889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460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5538" indent="-2111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0" indent="0">
                <a:buFont typeface="Wingdings" panose="05000000000000000000" pitchFamily="2" charset="2"/>
                <a:buNone/>
              </a:pPr>
              <a:r>
                <a:rPr lang="en-US" sz="1200" dirty="0"/>
                <a:t>0%</a:t>
              </a:r>
            </a:p>
          </p:txBody>
        </p:sp>
        <p:sp>
          <p:nvSpPr>
            <p:cNvPr id="46" name="3. Subtitle">
              <a:extLst>
                <a:ext uri="{FF2B5EF4-FFF2-40B4-BE49-F238E27FC236}">
                  <a16:creationId xmlns:a16="http://schemas.microsoft.com/office/drawing/2014/main" id="{FB1409DE-8C15-41E2-800E-A2B6ACE86375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9652000" y="1693832"/>
              <a:ext cx="31496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800" b="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-2254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0400" indent="-18891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460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5538" indent="-2111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0" indent="0">
                <a:buFont typeface="Wingdings" panose="05000000000000000000" pitchFamily="2" charset="2"/>
                <a:buNone/>
              </a:pPr>
              <a:r>
                <a:rPr lang="en-US" sz="1200" dirty="0"/>
                <a:t>50%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8CD4B95-06BF-4E08-B016-67484DEDFCA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52177" y="2375876"/>
            <a:ext cx="5405876" cy="9310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b="1" dirty="0">
                <a:solidFill>
                  <a:srgbClr val="397AAC"/>
                </a:solidFill>
              </a:rPr>
              <a:t>Infrastructure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lang="en-US" sz="1400" b="1" dirty="0">
                <a:solidFill>
                  <a:srgbClr val="000000"/>
                </a:solidFill>
              </a:rPr>
              <a:t>At least 266,000 North Carolina households</a:t>
            </a:r>
            <a:r>
              <a:rPr lang="en-US" sz="1400" dirty="0">
                <a:solidFill>
                  <a:srgbClr val="000000"/>
                </a:solidFill>
              </a:rPr>
              <a:t>,</a:t>
            </a:r>
            <a:r>
              <a:rPr lang="en-US" sz="1400" b="1" dirty="0">
                <a:solidFill>
                  <a:srgbClr val="000000"/>
                </a:solidFill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likely much higher, currently do not have access to high-speed internet of 100/10+ due to lack of infrastructure.</a:t>
            </a:r>
            <a:r>
              <a:rPr lang="en-US" sz="1400" baseline="30000" dirty="0">
                <a:solidFill>
                  <a:srgbClr val="000000"/>
                </a:solidFill>
              </a:rPr>
              <a:t>3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BCE3E64-76FE-4661-8B0B-2F3B00AF536D}"/>
              </a:ext>
            </a:extLst>
          </p:cNvPr>
          <p:cNvSpPr>
            <a:spLocks noChangeAspect="1"/>
          </p:cNvSpPr>
          <p:nvPr/>
        </p:nvSpPr>
        <p:spPr bwMode="gray">
          <a:xfrm>
            <a:off x="554734" y="2375876"/>
            <a:ext cx="601082" cy="601082"/>
          </a:xfrm>
          <a:prstGeom prst="ellipse">
            <a:avLst/>
          </a:prstGeom>
          <a:noFill/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A1A439-7852-41A0-ACAB-2FC00556E86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52177" y="3503744"/>
            <a:ext cx="5405876" cy="7155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b="1" dirty="0">
                <a:solidFill>
                  <a:srgbClr val="397AAC"/>
                </a:solidFill>
              </a:rPr>
              <a:t>Affordability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lang="en-US" sz="1400" b="1" dirty="0"/>
              <a:t>Approximately 1.3 million households </a:t>
            </a:r>
            <a:r>
              <a:rPr lang="en-US" sz="1400" dirty="0"/>
              <a:t>would have to pay more than 2% of their annual income to afford a broadband cost of $60/month.</a:t>
            </a:r>
            <a:r>
              <a:rPr lang="en-US" sz="1400" baseline="30000" dirty="0"/>
              <a:t>4</a:t>
            </a:r>
            <a:r>
              <a:rPr lang="en-US" sz="1400" dirty="0"/>
              <a:t> </a:t>
            </a:r>
          </a:p>
        </p:txBody>
      </p:sp>
      <p:pic>
        <p:nvPicPr>
          <p:cNvPr id="30" name="CustomIcon">
            <a:extLst>
              <a:ext uri="{FF2B5EF4-FFF2-40B4-BE49-F238E27FC236}">
                <a16:creationId xmlns:a16="http://schemas.microsoft.com/office/drawing/2014/main" id="{1FB05CC3-0776-41CC-8A07-1E4A22839316}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 bwMode="gray">
          <a:xfrm>
            <a:off x="652602" y="3591950"/>
            <a:ext cx="398682" cy="410763"/>
          </a:xfrm>
          <a:prstGeom prst="rect">
            <a:avLst/>
          </a:prstGeom>
        </p:spPr>
      </p:pic>
      <p:sp>
        <p:nvSpPr>
          <p:cNvPr id="52" name="Oval 51">
            <a:extLst>
              <a:ext uri="{FF2B5EF4-FFF2-40B4-BE49-F238E27FC236}">
                <a16:creationId xmlns:a16="http://schemas.microsoft.com/office/drawing/2014/main" id="{6FE16CB1-22D3-449A-8C53-8F831329DFAE}"/>
              </a:ext>
            </a:extLst>
          </p:cNvPr>
          <p:cNvSpPr>
            <a:spLocks noChangeAspect="1"/>
          </p:cNvSpPr>
          <p:nvPr/>
        </p:nvSpPr>
        <p:spPr bwMode="gray">
          <a:xfrm>
            <a:off x="554734" y="3503744"/>
            <a:ext cx="601082" cy="601082"/>
          </a:xfrm>
          <a:prstGeom prst="ellipse">
            <a:avLst/>
          </a:prstGeom>
          <a:noFill/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5104D0-6B9F-4F2B-B709-DD4B14002BE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352177" y="4515117"/>
            <a:ext cx="5405876" cy="11464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b="1" dirty="0">
                <a:solidFill>
                  <a:srgbClr val="397AAC"/>
                </a:solidFill>
              </a:rPr>
              <a:t>Digital Literacy and Enablement</a:t>
            </a:r>
          </a:p>
          <a:p>
            <a:pPr marL="0" lvl="0" inden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An estimated </a:t>
            </a:r>
            <a:r>
              <a:rPr lang="en-US" sz="1400" b="1" dirty="0">
                <a:solidFill>
                  <a:srgbClr val="000000"/>
                </a:solidFill>
              </a:rPr>
              <a:t>430,000 households </a:t>
            </a:r>
            <a:r>
              <a:rPr lang="en-US" sz="1400" dirty="0">
                <a:solidFill>
                  <a:srgbClr val="000000"/>
                </a:solidFill>
              </a:rPr>
              <a:t>are without a home laptop or desktop computer. Of those, </a:t>
            </a:r>
            <a:r>
              <a:rPr lang="en-US" sz="1400" b="1" dirty="0">
                <a:solidFill>
                  <a:srgbClr val="000000"/>
                </a:solidFill>
              </a:rPr>
              <a:t>approximately 180,000 </a:t>
            </a:r>
            <a:r>
              <a:rPr lang="en-US" sz="1400" dirty="0">
                <a:solidFill>
                  <a:srgbClr val="000000"/>
                </a:solidFill>
              </a:rPr>
              <a:t>do not have a smartphone.</a:t>
            </a:r>
            <a:r>
              <a:rPr lang="en-US" sz="1400" baseline="30000" dirty="0">
                <a:solidFill>
                  <a:srgbClr val="000000"/>
                </a:solidFill>
              </a:rPr>
              <a:t>5 </a:t>
            </a:r>
            <a:r>
              <a:rPr lang="en-US" sz="1400" dirty="0">
                <a:solidFill>
                  <a:srgbClr val="000000"/>
                </a:solidFill>
              </a:rPr>
              <a:t>As many as </a:t>
            </a:r>
            <a:r>
              <a:rPr lang="en-US" sz="1400" b="1" dirty="0">
                <a:solidFill>
                  <a:srgbClr val="000000"/>
                </a:solidFill>
              </a:rPr>
              <a:t>1.2 million adults</a:t>
            </a:r>
            <a:r>
              <a:rPr lang="en-US" sz="1400" dirty="0">
                <a:solidFill>
                  <a:srgbClr val="000000"/>
                </a:solidFill>
              </a:rPr>
              <a:t> may lack the digital literacy required to begin taking advantage of digital services.</a:t>
            </a:r>
            <a:r>
              <a:rPr lang="en-US" sz="1400" baseline="30000" dirty="0">
                <a:solidFill>
                  <a:srgbClr val="000000"/>
                </a:solidFill>
              </a:rPr>
              <a:t>6</a:t>
            </a:r>
            <a:r>
              <a:rPr lang="en-US" sz="1400" dirty="0">
                <a:solidFill>
                  <a:srgbClr val="000000"/>
                </a:solidFill>
              </a:rPr>
              <a:t>  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7540DD70-4126-43B9-8D5F-07DCB6B12303}"/>
              </a:ext>
            </a:extLst>
          </p:cNvPr>
          <p:cNvPicPr>
            <a:picLocks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 bwMode="gray">
          <a:xfrm>
            <a:off x="662127" y="4631645"/>
            <a:ext cx="398682" cy="410763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84577488-41B8-4E0B-8E48-B224A040C4B1}"/>
              </a:ext>
            </a:extLst>
          </p:cNvPr>
          <p:cNvSpPr>
            <a:spLocks noChangeAspect="1"/>
          </p:cNvSpPr>
          <p:nvPr/>
        </p:nvSpPr>
        <p:spPr bwMode="gray">
          <a:xfrm>
            <a:off x="554734" y="4515117"/>
            <a:ext cx="601082" cy="601082"/>
          </a:xfrm>
          <a:prstGeom prst="ellipse">
            <a:avLst/>
          </a:prstGeom>
          <a:noFill/>
          <a:ln w="44450" cap="sq">
            <a:solidFill>
              <a:srgbClr val="8DBDE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3CC3897A-BD4C-41AF-9B2D-7712BD192E04}"/>
              </a:ext>
            </a:extLst>
          </p:cNvPr>
          <p:cNvPicPr>
            <a:picLocks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44850" y="2460443"/>
            <a:ext cx="398682" cy="406696"/>
          </a:xfrm>
          <a:prstGeom prst="rect">
            <a:avLst/>
          </a:prstGeom>
        </p:spPr>
      </p:pic>
      <p:cxnSp>
        <p:nvCxnSpPr>
          <p:cNvPr id="11" name="LineBasicVerticalDefault 22">
            <a:extLst>
              <a:ext uri="{FF2B5EF4-FFF2-40B4-BE49-F238E27FC236}">
                <a16:creationId xmlns:a16="http://schemas.microsoft.com/office/drawing/2014/main" id="{DA6CEC09-9D57-4261-BD0C-8614CF40E2B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184056" y="2375876"/>
            <a:ext cx="0" cy="3469357"/>
          </a:xfrm>
          <a:prstGeom prst="straightConnector1">
            <a:avLst/>
          </a:prstGeom>
          <a:ln w="1270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1441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4F9309A0-ACCB-417A-993C-9887104A3A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82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4F9309A0-ACCB-417A-993C-9887104A3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id="{8EA5733B-7DE4-4548-BAF2-9020BAB045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2500" b="1" u="none" strike="noStrike" kern="1200" cap="none" spc="0" normalizeH="0" noProof="0" dirty="0" err="1">
              <a:ln>
                <a:noFill/>
              </a:ln>
              <a:solidFill>
                <a:srgbClr val="0C4169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1A24091-CB66-423A-8B23-3B6002D50DB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33118"/>
            <a:ext cx="9966960" cy="384721"/>
          </a:xfrm>
        </p:spPr>
        <p:txBody>
          <a:bodyPr/>
          <a:lstStyle/>
          <a:p>
            <a:r>
              <a:rPr lang="en-US" dirty="0"/>
              <a:t>Closing the Digital Divide in North Carolin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453A73-AEEF-4CDC-821A-967A4FAAFE9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761672" y="1975104"/>
            <a:ext cx="7058983" cy="36933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y 2025, North Carolina will become a top-5 state for high-speed internet adoption rates while equitably eliminating North Carolina’s digital divide</a:t>
            </a:r>
            <a:r>
              <a:rPr lang="en-US" sz="2000" dirty="0">
                <a:solidFill>
                  <a:srgbClr val="FFFFFF"/>
                </a:solidFill>
                <a:latin typeface="Calibri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:</a:t>
            </a:r>
          </a:p>
          <a:p>
            <a:pPr>
              <a:spcBef>
                <a:spcPts val="2100"/>
              </a:spcBef>
              <a:buClr>
                <a:srgbClr val="FFFFFF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aking home internet subscriptions affordable to all households, especially those with children</a:t>
            </a:r>
          </a:p>
          <a:p>
            <a:pPr>
              <a:spcBef>
                <a:spcPts val="2100"/>
              </a:spcBef>
              <a:buClr>
                <a:srgbClr val="FFFFFF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aking targeted investments to close gaps in adoption that impact Native American, Black and Latinx households</a:t>
            </a:r>
          </a:p>
          <a:p>
            <a:pPr>
              <a:spcBef>
                <a:spcPts val="2100"/>
              </a:spcBef>
              <a:buClr>
                <a:srgbClr val="FFFFFF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atalyzing access to devices, digital training and tools that will connect residents to the digital economy</a:t>
            </a:r>
          </a:p>
        </p:txBody>
      </p:sp>
      <p:pic>
        <p:nvPicPr>
          <p:cNvPr id="15" name="CustomIcon">
            <a:extLst>
              <a:ext uri="{FF2B5EF4-FFF2-40B4-BE49-F238E27FC236}">
                <a16:creationId xmlns:a16="http://schemas.microsoft.com/office/drawing/2014/main" id="{B6FB72D7-3A94-42C6-A185-CAFEF7429A9D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11096" y="1975104"/>
            <a:ext cx="590366" cy="60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56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9745B86D-36CF-4BE6-BD20-A023BE12C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074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0" name="think-cell Slide" r:id="rId32" imgW="395" imgH="394" progId="TCLayout.ActiveDocument.1">
                  <p:embed/>
                </p:oleObj>
              </mc:Choice>
              <mc:Fallback>
                <p:oleObj name="think-cell Slide" r:id="rId32" imgW="395" imgH="394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9745B86D-36CF-4BE6-BD20-A023BE12C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C86DDEF-D645-4E6A-BCD9-BDB0A1715F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25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4CA81D2E-7F8F-4F93-B447-34CEF37A5B7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54736" y="433118"/>
            <a:ext cx="996696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US" dirty="0"/>
              <a:t>Measuring Success</a:t>
            </a:r>
          </a:p>
        </p:txBody>
      </p:sp>
      <p:cxnSp>
        <p:nvCxnSpPr>
          <p:cNvPr id="59" name="LineBasicImpact 72">
            <a:extLst>
              <a:ext uri="{FF2B5EF4-FFF2-40B4-BE49-F238E27FC236}">
                <a16:creationId xmlns:a16="http://schemas.microsoft.com/office/drawing/2014/main" id="{ED2D95DF-071F-4EE5-9760-4F705CA8284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1912978" y="1664280"/>
            <a:ext cx="7910733" cy="0"/>
          </a:xfrm>
          <a:prstGeom prst="straightConnector1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B0CF203-736A-46D7-B2BB-BB31C7D54DD0}"/>
              </a:ext>
            </a:extLst>
          </p:cNvPr>
          <p:cNvSpPr txBox="1"/>
          <p:nvPr/>
        </p:nvSpPr>
        <p:spPr>
          <a:xfrm>
            <a:off x="7103545" y="1374330"/>
            <a:ext cx="12144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.C. Today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A8D7CB7-0BB2-4C4A-8C89-245C6FF08CBD}"/>
              </a:ext>
            </a:extLst>
          </p:cNvPr>
          <p:cNvSpPr txBox="1">
            <a:spLocks/>
          </p:cNvSpPr>
          <p:nvPr/>
        </p:nvSpPr>
        <p:spPr>
          <a:xfrm>
            <a:off x="1912979" y="1374330"/>
            <a:ext cx="486600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ey Success Metrics</a:t>
            </a:r>
            <a:endParaRPr kumimoji="0" lang="en-US" sz="18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839F7D8C-18AC-4AC2-B321-4C8B9302DE36}"/>
              </a:ext>
            </a:extLst>
          </p:cNvPr>
          <p:cNvSpPr txBox="1"/>
          <p:nvPr/>
        </p:nvSpPr>
        <p:spPr>
          <a:xfrm>
            <a:off x="8642576" y="1374330"/>
            <a:ext cx="12144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.C. 2025</a:t>
            </a:r>
          </a:p>
        </p:txBody>
      </p:sp>
      <p:grpSp>
        <p:nvGrpSpPr>
          <p:cNvPr id="22" name="CustomIcon">
            <a:extLst>
              <a:ext uri="{FF2B5EF4-FFF2-40B4-BE49-F238E27FC236}">
                <a16:creationId xmlns:a16="http://schemas.microsoft.com/office/drawing/2014/main" id="{45BBA627-496F-4971-9F07-F6D263A37AE9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1912978" y="2731714"/>
            <a:ext cx="721450" cy="721450"/>
            <a:chOff x="-200025" y="-207010"/>
            <a:chExt cx="1019810" cy="101981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603B636-96CB-404D-ADC9-849581178A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18A54809-1C84-4246-9A9F-4AD4FDD89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76" name="TrackerNumWhite 11">
            <a:extLst>
              <a:ext uri="{FF2B5EF4-FFF2-40B4-BE49-F238E27FC236}">
                <a16:creationId xmlns:a16="http://schemas.microsoft.com/office/drawing/2014/main" id="{B96F9745-20D4-464F-A785-6E07E60BA91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7136882" y="2917038"/>
            <a:ext cx="1147797" cy="350802"/>
          </a:xfrm>
          <a:prstGeom prst="ellipse">
            <a:avLst/>
          </a:prstGeom>
          <a:solidFill>
            <a:srgbClr val="8DBDE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3% </a:t>
            </a:r>
          </a:p>
        </p:txBody>
      </p:sp>
      <p:sp>
        <p:nvSpPr>
          <p:cNvPr id="180" name="TrackerNumWhite 11">
            <a:extLst>
              <a:ext uri="{FF2B5EF4-FFF2-40B4-BE49-F238E27FC236}">
                <a16:creationId xmlns:a16="http://schemas.microsoft.com/office/drawing/2014/main" id="{54230252-1049-4D4F-AE56-149C2E2319B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8675913" y="2917038"/>
            <a:ext cx="1147797" cy="350802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0% 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B4810A1C-C8BA-4FE8-9FC5-3C6FB2C64CF0}"/>
              </a:ext>
            </a:extLst>
          </p:cNvPr>
          <p:cNvSpPr txBox="1">
            <a:spLocks/>
          </p:cNvSpPr>
          <p:nvPr/>
        </p:nvSpPr>
        <p:spPr>
          <a:xfrm>
            <a:off x="3032981" y="2815440"/>
            <a:ext cx="3746002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ouseholds with broadband internet subscript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9D8FDF5-7F12-4D0B-A353-006A63F16E9B}"/>
              </a:ext>
            </a:extLst>
          </p:cNvPr>
          <p:cNvGrpSpPr/>
          <p:nvPr/>
        </p:nvGrpSpPr>
        <p:grpSpPr>
          <a:xfrm>
            <a:off x="1912978" y="3678463"/>
            <a:ext cx="7910733" cy="793747"/>
            <a:chOff x="1912978" y="5571354"/>
            <a:chExt cx="7910733" cy="793747"/>
          </a:xfrm>
        </p:grpSpPr>
        <p:grpSp>
          <p:nvGrpSpPr>
            <p:cNvPr id="26" name="CustomIcon">
              <a:extLst>
                <a:ext uri="{FF2B5EF4-FFF2-40B4-BE49-F238E27FC236}">
                  <a16:creationId xmlns:a16="http://schemas.microsoft.com/office/drawing/2014/main" id="{D7E9B9AE-C7FC-4EC3-A893-FA1EB4787C33}"/>
                </a:ext>
              </a:extLst>
            </p:cNvPr>
            <p:cNvGrpSpPr>
              <a:grpSpLocks/>
            </p:cNvGrpSpPr>
            <p:nvPr>
              <p:custDataLst>
                <p:tags r:id="rId26"/>
              </p:custDataLst>
            </p:nvPr>
          </p:nvGrpSpPr>
          <p:grpSpPr>
            <a:xfrm>
              <a:off x="1912978" y="5643651"/>
              <a:ext cx="721450" cy="721450"/>
              <a:chOff x="-200025" y="-207010"/>
              <a:chExt cx="1019810" cy="101981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E6CD7972-3A44-4DA3-9BF0-B1F764A015D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0025" y="-207010"/>
                <a:ext cx="1019810" cy="1019810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5DAB8186-FFA3-44B7-ADA0-7605FCAF2C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6">
                <a:extLst>
                  <a:ext uri="{96DAC541-7B7A-43D3-8B79-37D633B846F1}">
                    <asvg:svgBlip xmlns:asvg="http://schemas.microsoft.com/office/drawing/2016/SVG/main" r:embed="rId37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cxnSp>
          <p:nvCxnSpPr>
            <p:cNvPr id="42" name="LineContentSeparatorStrong 113">
              <a:extLst>
                <a:ext uri="{FF2B5EF4-FFF2-40B4-BE49-F238E27FC236}">
                  <a16:creationId xmlns:a16="http://schemas.microsoft.com/office/drawing/2014/main" id="{A0D1C0AD-D367-445E-8550-6494E65A13D5}"/>
                </a:ext>
              </a:extLst>
            </p:cNvPr>
            <p:cNvCxnSpPr>
              <a:cxnSpLocks/>
            </p:cNvCxnSpPr>
            <p:nvPr>
              <p:custDataLst>
                <p:tags r:id="rId27"/>
              </p:custDataLst>
            </p:nvPr>
          </p:nvCxnSpPr>
          <p:spPr>
            <a:xfrm>
              <a:off x="1912978" y="5571354"/>
              <a:ext cx="7910733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TrackerNumWhite 11">
              <a:extLst>
                <a:ext uri="{FF2B5EF4-FFF2-40B4-BE49-F238E27FC236}">
                  <a16:creationId xmlns:a16="http://schemas.microsoft.com/office/drawing/2014/main" id="{3B9127C5-52F0-4C7D-AFE8-0DDDC9F498B4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7136882" y="5828975"/>
              <a:ext cx="1147797" cy="350802"/>
            </a:xfrm>
            <a:prstGeom prst="ellipse">
              <a:avLst/>
            </a:prstGeom>
            <a:solidFill>
              <a:srgbClr val="8DBDE8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1% </a:t>
              </a:r>
            </a:p>
          </p:txBody>
        </p:sp>
        <p:sp>
          <p:nvSpPr>
            <p:cNvPr id="186" name="TrackerNumWhite 11">
              <a:extLst>
                <a:ext uri="{FF2B5EF4-FFF2-40B4-BE49-F238E27FC236}">
                  <a16:creationId xmlns:a16="http://schemas.microsoft.com/office/drawing/2014/main" id="{24332586-B0BC-4C8D-986A-BFC5BFEE04E4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8675913" y="5828975"/>
              <a:ext cx="1147797" cy="350802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D797CEDC-AAE3-4124-ADA1-5B29152E9285}"/>
                </a:ext>
              </a:extLst>
            </p:cNvPr>
            <p:cNvSpPr txBox="1">
              <a:spLocks/>
            </p:cNvSpPr>
            <p:nvPr/>
          </p:nvSpPr>
          <p:spPr>
            <a:xfrm>
              <a:off x="3032981" y="5727377"/>
              <a:ext cx="3746002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Households with children with broadband internet subscriptions 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CFA51C7-96F0-4112-91AE-770D92A757BB}"/>
              </a:ext>
            </a:extLst>
          </p:cNvPr>
          <p:cNvGrpSpPr/>
          <p:nvPr/>
        </p:nvGrpSpPr>
        <p:grpSpPr>
          <a:xfrm>
            <a:off x="1912978" y="4589980"/>
            <a:ext cx="8058832" cy="1852567"/>
            <a:chOff x="1912978" y="3537348"/>
            <a:chExt cx="8058832" cy="185256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9A2B7CC-65DD-482F-AD3A-724CC987D1D9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4043384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14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Native American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5DE6E80-9556-43F4-A6C7-7933FD0FDB14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4406302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14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Black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9102C2D-A057-41DD-BF36-65AB3DF38D54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4754695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14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Latinx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6974ED9-D90F-45D5-B73E-83737087A311}"/>
                </a:ext>
              </a:extLst>
            </p:cNvPr>
            <p:cNvSpPr txBox="1">
              <a:spLocks/>
            </p:cNvSpPr>
            <p:nvPr/>
          </p:nvSpPr>
          <p:spPr>
            <a:xfrm>
              <a:off x="3004926" y="5138414"/>
              <a:ext cx="6966884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lang="en-US" sz="1600" dirty="0"/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White</a:t>
              </a:r>
              <a:endParaRPr kumimoji="0" lang="en-US" sz="1400" b="0" i="0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FD68211-CC13-40D5-B9F3-176A9D24820F}"/>
                </a:ext>
              </a:extLst>
            </p:cNvPr>
            <p:cNvGrpSpPr/>
            <p:nvPr/>
          </p:nvGrpSpPr>
          <p:grpSpPr>
            <a:xfrm>
              <a:off x="1912978" y="3537348"/>
              <a:ext cx="7910733" cy="1852567"/>
              <a:chOff x="1912978" y="3537348"/>
              <a:chExt cx="7910733" cy="1852567"/>
            </a:xfrm>
          </p:grpSpPr>
          <p:cxnSp>
            <p:nvCxnSpPr>
              <p:cNvPr id="46" name="LineContentSeparatorStrong 113">
                <a:extLst>
                  <a:ext uri="{FF2B5EF4-FFF2-40B4-BE49-F238E27FC236}">
                    <a16:creationId xmlns:a16="http://schemas.microsoft.com/office/drawing/2014/main" id="{0F2072FC-22DC-4FFC-A38E-1D22C094D665}"/>
                  </a:ext>
                </a:extLst>
              </p:cNvPr>
              <p:cNvCxnSpPr>
                <a:cxnSpLocks/>
              </p:cNvCxnSpPr>
              <p:nvPr>
                <p:custDataLst>
                  <p:tags r:id="rId13"/>
                </p:custDataLst>
              </p:nvPr>
            </p:nvCxnSpPr>
            <p:spPr>
              <a:xfrm>
                <a:off x="1912978" y="3537348"/>
                <a:ext cx="7910733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8459CFB9-A40E-4199-8A8E-EE7E26F283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032981" y="3653903"/>
                <a:ext cx="3746002" cy="27699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>
                <a:lvl1pPr marL="228600" lvl="0" indent="-22860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1pPr>
                <a:lvl2pPr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sz="1600">
                    <a:cs typeface="Arial" panose="020B0604020202020204" pitchFamily="34" charset="0"/>
                  </a:defRPr>
                </a:lvl2pPr>
                <a:lvl3pPr marL="660400" lvl="2" indent="-18891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•"/>
                  <a:defRPr sz="1600">
                    <a:cs typeface="Arial" panose="020B0604020202020204" pitchFamily="34" charset="0"/>
                  </a:defRPr>
                </a:lvl3pPr>
                <a:lvl4pPr marL="914400" lvl="3" indent="-2460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‒"/>
                  <a:defRPr sz="1600">
                    <a:cs typeface="Arial" panose="020B0604020202020204" pitchFamily="34" charset="0"/>
                  </a:defRPr>
                </a:lvl4pPr>
                <a:lvl5pPr marL="1125538" lvl="4" indent="-2111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1600"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sz="1800" b="0" i="0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doption rates across racial subgroups</a:t>
                </a:r>
              </a:p>
            </p:txBody>
          </p:sp>
          <p:grpSp>
            <p:nvGrpSpPr>
              <p:cNvPr id="31" name="CustomIcon">
                <a:extLst>
                  <a:ext uri="{FF2B5EF4-FFF2-40B4-BE49-F238E27FC236}">
                    <a16:creationId xmlns:a16="http://schemas.microsoft.com/office/drawing/2014/main" id="{2B34ED7C-A837-4FE9-A681-4FA46B08ADDB}"/>
                  </a:ext>
                </a:extLst>
              </p:cNvPr>
              <p:cNvGrpSpPr>
                <a:grpSpLocks/>
              </p:cNvGrpSpPr>
              <p:nvPr>
                <p:custDataLst>
                  <p:tags r:id="rId14"/>
                </p:custDataLst>
              </p:nvPr>
            </p:nvGrpSpPr>
            <p:grpSpPr>
              <a:xfrm>
                <a:off x="1912978" y="3653903"/>
                <a:ext cx="721450" cy="721450"/>
                <a:chOff x="-200025" y="-207010"/>
                <a:chExt cx="1019810" cy="1019810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8753C1CC-7E4F-4423-9D3B-6AB25E59E3F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200025" y="-207010"/>
                  <a:ext cx="1019810" cy="1019810"/>
                </a:xfrm>
                <a:prstGeom prst="ellipse">
                  <a:avLst/>
                </a:prstGeom>
                <a:solidFill>
                  <a:schemeClr val="accent1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30" name="Graphic 29">
                  <a:extLst>
                    <a:ext uri="{FF2B5EF4-FFF2-40B4-BE49-F238E27FC236}">
                      <a16:creationId xmlns:a16="http://schemas.microsoft.com/office/drawing/2014/main" id="{7A8849D1-0D26-4CC2-9A33-3E926D27D7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8">
                  <a:extLst>
                    <a:ext uri="{96DAC541-7B7A-43D3-8B79-37D633B846F1}">
                      <asvg:svgBlip xmlns:asvg="http://schemas.microsoft.com/office/drawing/2016/SVG/main" r:embed="rId3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0" y="0"/>
                  <a:ext cx="609600" cy="609600"/>
                </a:xfrm>
                <a:prstGeom prst="rect">
                  <a:avLst/>
                </a:prstGeom>
              </p:spPr>
            </p:pic>
          </p:grpSp>
          <p:sp>
            <p:nvSpPr>
              <p:cNvPr id="36" name="TrackerNumWhite 11">
                <a:extLst>
                  <a:ext uri="{FF2B5EF4-FFF2-40B4-BE49-F238E27FC236}">
                    <a16:creationId xmlns:a16="http://schemas.microsoft.com/office/drawing/2014/main" id="{D2C953E2-7F4F-4E38-97F3-D53BC1D063FB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>
              <a:xfrm>
                <a:off x="7364763" y="4053548"/>
                <a:ext cx="692035" cy="241337"/>
              </a:xfrm>
              <a:prstGeom prst="ellipse">
                <a:avLst/>
              </a:prstGeom>
              <a:solidFill>
                <a:srgbClr val="8DBDE8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57% </a:t>
                </a:r>
              </a:p>
            </p:txBody>
          </p:sp>
          <p:sp>
            <p:nvSpPr>
              <p:cNvPr id="37" name="TrackerNumWhite 11">
                <a:extLst>
                  <a:ext uri="{FF2B5EF4-FFF2-40B4-BE49-F238E27FC236}">
                    <a16:creationId xmlns:a16="http://schemas.microsoft.com/office/drawing/2014/main" id="{CE87076F-38DE-45DA-858A-54B4440B90DA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>
              <a:xfrm>
                <a:off x="8903794" y="4053548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TrackerNumWhite 11">
                <a:extLst>
                  <a:ext uri="{FF2B5EF4-FFF2-40B4-BE49-F238E27FC236}">
                    <a16:creationId xmlns:a16="http://schemas.microsoft.com/office/drawing/2014/main" id="{DC131E97-C6D1-42D3-B101-B814627DC6F5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>
              <a:xfrm>
                <a:off x="7364763" y="4398438"/>
                <a:ext cx="692035" cy="241337"/>
              </a:xfrm>
              <a:prstGeom prst="ellipse">
                <a:avLst/>
              </a:prstGeom>
              <a:solidFill>
                <a:srgbClr val="8DBDE8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64% </a:t>
                </a:r>
              </a:p>
            </p:txBody>
          </p:sp>
          <p:sp>
            <p:nvSpPr>
              <p:cNvPr id="45" name="TrackerNumWhite 11">
                <a:extLst>
                  <a:ext uri="{FF2B5EF4-FFF2-40B4-BE49-F238E27FC236}">
                    <a16:creationId xmlns:a16="http://schemas.microsoft.com/office/drawing/2014/main" id="{385A5783-416B-4D68-8DBF-675F7865A152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>
              <a:xfrm>
                <a:off x="8903794" y="4393356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47" name="LineBasicStrong 11">
                <a:extLst>
                  <a:ext uri="{FF2B5EF4-FFF2-40B4-BE49-F238E27FC236}">
                    <a16:creationId xmlns:a16="http://schemas.microsoft.com/office/drawing/2014/main" id="{F4714B45-C3FB-4175-A05D-48675E9D88D4}"/>
                  </a:ext>
                </a:extLst>
              </p:cNvPr>
              <p:cNvCxnSpPr>
                <a:cxnSpLocks/>
              </p:cNvCxnSpPr>
              <p:nvPr>
                <p:custDataLst>
                  <p:tags r:id="rId19"/>
                </p:custDataLst>
              </p:nvPr>
            </p:nvCxnSpPr>
            <p:spPr>
              <a:xfrm>
                <a:off x="3004926" y="4343423"/>
                <a:ext cx="67907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rackerNumWhite 11">
                <a:extLst>
                  <a:ext uri="{FF2B5EF4-FFF2-40B4-BE49-F238E27FC236}">
                    <a16:creationId xmlns:a16="http://schemas.microsoft.com/office/drawing/2014/main" id="{6F401C4A-3B87-4118-A7FF-26C400112AC5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>
              <a:xfrm>
                <a:off x="7364763" y="4764859"/>
                <a:ext cx="692035" cy="241337"/>
              </a:xfrm>
              <a:prstGeom prst="ellipse">
                <a:avLst/>
              </a:prstGeom>
              <a:solidFill>
                <a:srgbClr val="8DBDE8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68% </a:t>
                </a:r>
              </a:p>
            </p:txBody>
          </p:sp>
          <p:sp>
            <p:nvSpPr>
              <p:cNvPr id="50" name="TrackerNumWhite 11">
                <a:extLst>
                  <a:ext uri="{FF2B5EF4-FFF2-40B4-BE49-F238E27FC236}">
                    <a16:creationId xmlns:a16="http://schemas.microsoft.com/office/drawing/2014/main" id="{A92A2B2D-8E19-48AE-8801-2FF6F849AEFF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>
              <a:xfrm>
                <a:off x="8903794" y="4764859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51" name="LineBasicStrong 11">
                <a:extLst>
                  <a:ext uri="{FF2B5EF4-FFF2-40B4-BE49-F238E27FC236}">
                    <a16:creationId xmlns:a16="http://schemas.microsoft.com/office/drawing/2014/main" id="{94B3F7E2-A74C-40BD-8662-F054E86CC6EE}"/>
                  </a:ext>
                </a:extLst>
              </p:cNvPr>
              <p:cNvCxnSpPr>
                <a:cxnSpLocks/>
              </p:cNvCxnSpPr>
              <p:nvPr>
                <p:custDataLst>
                  <p:tags r:id="rId22"/>
                </p:custDataLst>
              </p:nvPr>
            </p:nvCxnSpPr>
            <p:spPr>
              <a:xfrm>
                <a:off x="3004926" y="4694604"/>
                <a:ext cx="67907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rackerNumWhite 11">
                <a:extLst>
                  <a:ext uri="{FF2B5EF4-FFF2-40B4-BE49-F238E27FC236}">
                    <a16:creationId xmlns:a16="http://schemas.microsoft.com/office/drawing/2014/main" id="{90973D23-ACB3-4F46-A6DF-F9DDF2A7478A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>
              <a:xfrm>
                <a:off x="7364763" y="5148578"/>
                <a:ext cx="692035" cy="241337"/>
              </a:xfrm>
              <a:prstGeom prst="ellipse">
                <a:avLst/>
              </a:prstGeom>
              <a:solidFill>
                <a:srgbClr val="8DBDE8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76% </a:t>
                </a:r>
              </a:p>
            </p:txBody>
          </p:sp>
          <p:sp>
            <p:nvSpPr>
              <p:cNvPr id="54" name="TrackerNumWhite 11">
                <a:extLst>
                  <a:ext uri="{FF2B5EF4-FFF2-40B4-BE49-F238E27FC236}">
                    <a16:creationId xmlns:a16="http://schemas.microsoft.com/office/drawing/2014/main" id="{43FEF99E-BE82-4FE3-808A-91CE7FE3F983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>
              <a:xfrm>
                <a:off x="8903794" y="5148578"/>
                <a:ext cx="692035" cy="241337"/>
              </a:xfrm>
              <a:prstGeom prst="ellipse">
                <a:avLst/>
              </a:pr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80%</a:t>
                </a:r>
                <a:endParaRPr kumimoji="0" lang="en-US" sz="1400" b="0" i="0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55" name="LineBasicStrong 11">
                <a:extLst>
                  <a:ext uri="{FF2B5EF4-FFF2-40B4-BE49-F238E27FC236}">
                    <a16:creationId xmlns:a16="http://schemas.microsoft.com/office/drawing/2014/main" id="{622148B0-A6BB-40BB-8DDE-572B055B6BC5}"/>
                  </a:ext>
                </a:extLst>
              </p:cNvPr>
              <p:cNvCxnSpPr>
                <a:cxnSpLocks/>
              </p:cNvCxnSpPr>
              <p:nvPr>
                <p:custDataLst>
                  <p:tags r:id="rId25"/>
                </p:custDataLst>
              </p:nvPr>
            </p:nvCxnSpPr>
            <p:spPr>
              <a:xfrm>
                <a:off x="3013447" y="5055463"/>
                <a:ext cx="67907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prstDash val="solid"/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9F9AFF5-1FBE-4A30-B828-451431FDB06A}"/>
              </a:ext>
            </a:extLst>
          </p:cNvPr>
          <p:cNvGrpSpPr/>
          <p:nvPr/>
        </p:nvGrpSpPr>
        <p:grpSpPr>
          <a:xfrm>
            <a:off x="1909507" y="1834759"/>
            <a:ext cx="7910733" cy="798014"/>
            <a:chOff x="3528418" y="6064890"/>
            <a:chExt cx="7910733" cy="798014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73054F54-A297-41EE-AB8B-057923A77C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8418" y="6064890"/>
              <a:ext cx="721450" cy="72145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sng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60" name="LineContentSeparatorStrong 113">
              <a:extLst>
                <a:ext uri="{FF2B5EF4-FFF2-40B4-BE49-F238E27FC236}">
                  <a16:creationId xmlns:a16="http://schemas.microsoft.com/office/drawing/2014/main" id="{39D6EBF0-4106-4005-B535-62D8FCDCD98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3528418" y="6862904"/>
              <a:ext cx="7910733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rackerNumWhite 11">
              <a:extLst>
                <a:ext uri="{FF2B5EF4-FFF2-40B4-BE49-F238E27FC236}">
                  <a16:creationId xmlns:a16="http://schemas.microsoft.com/office/drawing/2014/main" id="{37D46DCC-2651-46A8-9CCE-C1440B33BE36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8752322" y="6250214"/>
              <a:ext cx="1147797" cy="350802"/>
            </a:xfrm>
            <a:prstGeom prst="ellipse">
              <a:avLst/>
            </a:prstGeom>
            <a:solidFill>
              <a:srgbClr val="8DBDE8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5.5% </a:t>
              </a:r>
            </a:p>
          </p:txBody>
        </p:sp>
        <p:sp>
          <p:nvSpPr>
            <p:cNvPr id="62" name="TrackerNumWhite 11">
              <a:extLst>
                <a:ext uri="{FF2B5EF4-FFF2-40B4-BE49-F238E27FC236}">
                  <a16:creationId xmlns:a16="http://schemas.microsoft.com/office/drawing/2014/main" id="{83DFF02A-24E1-4311-B587-36BD8638F201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0291353" y="6250214"/>
              <a:ext cx="1147797" cy="350802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% 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F6DACD3-B507-4678-A50F-18423F04D34F}"/>
                </a:ext>
              </a:extLst>
            </p:cNvPr>
            <p:cNvSpPr txBox="1">
              <a:spLocks/>
            </p:cNvSpPr>
            <p:nvPr/>
          </p:nvSpPr>
          <p:spPr>
            <a:xfrm>
              <a:off x="4648421" y="6148616"/>
              <a:ext cx="3746002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228600" lvl="0" indent="-22860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1pPr>
              <a:lvl2pPr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2pPr>
              <a:lvl3pPr marL="660400" lvl="2" indent="-1889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3pPr>
              <a:lvl4pPr marL="914400" lvl="3" indent="-2460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4pPr>
              <a:lvl5pPr marL="1125538" lvl="4" indent="-2111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8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Households with broadband internet access</a:t>
              </a:r>
            </a:p>
          </p:txBody>
        </p:sp>
      </p:grpSp>
      <p:pic>
        <p:nvPicPr>
          <p:cNvPr id="65" name="CustomIcon">
            <a:extLst>
              <a:ext uri="{FF2B5EF4-FFF2-40B4-BE49-F238E27FC236}">
                <a16:creationId xmlns:a16="http://schemas.microsoft.com/office/drawing/2014/main" id="{A2B11686-EEF7-4EA5-99E8-1D9E573D9B7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 bwMode="gray">
          <a:xfrm>
            <a:off x="2054483" y="1952528"/>
            <a:ext cx="425852" cy="425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499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9745B86D-36CF-4BE6-BD20-A023BE12C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4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9745B86D-36CF-4BE6-BD20-A023BE12C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C86DDEF-D645-4E6A-BCD9-BDB0A1715F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4CA81D2E-7F8F-4F93-B447-34CEF37A5B7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54736" y="433118"/>
            <a:ext cx="996696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0">
            <a:spAutoFit/>
          </a:bodyPr>
          <a:lstStyle/>
          <a:p>
            <a:r>
              <a:rPr lang="en-US" dirty="0"/>
              <a:t>Approach &amp; Initiative Investmen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315EEC2-8E7A-4817-BD05-25BF86428194}"/>
              </a:ext>
            </a:extLst>
          </p:cNvPr>
          <p:cNvSpPr txBox="1">
            <a:spLocks/>
          </p:cNvSpPr>
          <p:nvPr/>
        </p:nvSpPr>
        <p:spPr>
          <a:xfrm>
            <a:off x="554736" y="1398141"/>
            <a:ext cx="229273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pic>
        <p:nvPicPr>
          <p:cNvPr id="97" name="CustomIcon">
            <a:extLst>
              <a:ext uri="{FF2B5EF4-FFF2-40B4-BE49-F238E27FC236}">
                <a16:creationId xmlns:a16="http://schemas.microsoft.com/office/drawing/2014/main" id="{ADCAE3BC-9C2B-4B7F-9857-51515E6F2E57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71070" y="6103667"/>
            <a:ext cx="241078" cy="241076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BC288BB2-91E6-402E-98BE-C9355CDAF5AF}"/>
              </a:ext>
            </a:extLst>
          </p:cNvPr>
          <p:cNvSpPr txBox="1"/>
          <p:nvPr/>
        </p:nvSpPr>
        <p:spPr>
          <a:xfrm>
            <a:off x="553972" y="1112775"/>
            <a:ext cx="11028428" cy="9682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or Cooper’s plan invests about $1 billion of American Rescue Plan funds (and $30 million of state funds) in the following areas to </a:t>
            </a:r>
            <a:r>
              <a:rPr lang="en-US" b="1" dirty="0">
                <a:solidFill>
                  <a:srgbClr val="397AA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hieve digital equity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>
                <a:solidFill>
                  <a:srgbClr val="397AAC"/>
                </a:solidFill>
              </a:rPr>
              <a:t>in North Carolina.</a:t>
            </a:r>
            <a:r>
              <a:rPr lang="en-US" sz="1800" b="1" dirty="0"/>
              <a:t> </a:t>
            </a:r>
            <a:r>
              <a:rPr lang="en-US" sz="1800" dirty="0">
                <a:latin typeface="Calibri" panose="020F0502020204030204" pitchFamily="34" charset="0"/>
                <a:cs typeface="Times New Roman" panose="02020603050405020304" pitchFamily="18" charset="0"/>
              </a:rPr>
              <a:t>We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ll also leverage significant private sector investment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C8B0790-55C7-4391-B71E-FE1C43E758AE}"/>
              </a:ext>
            </a:extLst>
          </p:cNvPr>
          <p:cNvSpPr txBox="1">
            <a:spLocks/>
          </p:cNvSpPr>
          <p:nvPr/>
        </p:nvSpPr>
        <p:spPr>
          <a:xfrm>
            <a:off x="4352813" y="2371023"/>
            <a:ext cx="7057288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ure availability of internet service at speeds of at least 100/20 Mbps for </a:t>
            </a:r>
            <a:b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re than 98% of North Carolina households.</a:t>
            </a:r>
            <a:endParaRPr kumimoji="0" lang="en-US" sz="14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rackerNumWhite 11">
            <a:extLst>
              <a:ext uri="{FF2B5EF4-FFF2-40B4-BE49-F238E27FC236}">
                <a16:creationId xmlns:a16="http://schemas.microsoft.com/office/drawing/2014/main" id="{CAC7072E-CDC6-4465-A04B-FD6C15BB408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277825" y="2229980"/>
            <a:ext cx="761239" cy="292018"/>
          </a:xfrm>
          <a:prstGeom prst="round2SameRect">
            <a:avLst/>
          </a:prstGeom>
          <a:solidFill>
            <a:schemeClr val="bg2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971M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B86E940-14DA-41CA-B826-1FB63FE102D1}"/>
              </a:ext>
            </a:extLst>
          </p:cNvPr>
          <p:cNvSpPr txBox="1">
            <a:spLocks/>
          </p:cNvSpPr>
          <p:nvPr/>
        </p:nvSpPr>
        <p:spPr>
          <a:xfrm>
            <a:off x="4352813" y="3319137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ompleting Access to Broadband (CAB)</a:t>
            </a:r>
            <a:endParaRPr kumimoji="0" lang="en-US" sz="1400" b="0" i="0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TrackerNumWhite 11">
            <a:extLst>
              <a:ext uri="{FF2B5EF4-FFF2-40B4-BE49-F238E27FC236}">
                <a16:creationId xmlns:a16="http://schemas.microsoft.com/office/drawing/2014/main" id="{50442CE6-176C-407C-8F71-45D7D664E69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277826" y="3280850"/>
            <a:ext cx="761239" cy="292018"/>
          </a:xfrm>
          <a:prstGeom prst="round2SameRect">
            <a:avLst/>
          </a:prstGeom>
          <a:solidFill>
            <a:srgbClr val="8DBDE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400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2934AA5-220F-4559-80AC-8B9D7001BDEA}"/>
              </a:ext>
            </a:extLst>
          </p:cNvPr>
          <p:cNvSpPr txBox="1">
            <a:spLocks/>
          </p:cNvSpPr>
          <p:nvPr/>
        </p:nvSpPr>
        <p:spPr>
          <a:xfrm>
            <a:off x="4352813" y="2937790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REAT Grant</a:t>
            </a:r>
            <a:endParaRPr kumimoji="0" lang="en-US" sz="1400" b="0" i="0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rackerNumWhite 11">
            <a:extLst>
              <a:ext uri="{FF2B5EF4-FFF2-40B4-BE49-F238E27FC236}">
                <a16:creationId xmlns:a16="http://schemas.microsoft.com/office/drawing/2014/main" id="{0BD40B2F-B5F1-4B4C-AF50-E783846B622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3277826" y="2899503"/>
            <a:ext cx="761239" cy="292018"/>
          </a:xfrm>
          <a:prstGeom prst="round2SameRect">
            <a:avLst/>
          </a:prstGeom>
          <a:solidFill>
            <a:srgbClr val="8DBDE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380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3817BB9-329D-40EC-8569-3A98DB6F68AC}"/>
              </a:ext>
            </a:extLst>
          </p:cNvPr>
          <p:cNvSpPr txBox="1">
            <a:spLocks/>
          </p:cNvSpPr>
          <p:nvPr/>
        </p:nvSpPr>
        <p:spPr>
          <a:xfrm>
            <a:off x="4352813" y="3700484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top Gap Solutions	</a:t>
            </a:r>
            <a:endParaRPr kumimoji="0" lang="en-US" sz="1400" b="0" i="0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TrackerNumWhite 11">
            <a:extLst>
              <a:ext uri="{FF2B5EF4-FFF2-40B4-BE49-F238E27FC236}">
                <a16:creationId xmlns:a16="http://schemas.microsoft.com/office/drawing/2014/main" id="{B766B544-162E-466D-AB2F-F031B39F3B7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277826" y="3677437"/>
            <a:ext cx="761239" cy="292018"/>
          </a:xfrm>
          <a:prstGeom prst="round2SameRect">
            <a:avLst/>
          </a:prstGeom>
          <a:solidFill>
            <a:srgbClr val="8DBDE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90M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6CE1A54-8615-466D-8A25-6474D7C09A7E}"/>
              </a:ext>
            </a:extLst>
          </p:cNvPr>
          <p:cNvSpPr txBox="1">
            <a:spLocks/>
          </p:cNvSpPr>
          <p:nvPr/>
        </p:nvSpPr>
        <p:spPr>
          <a:xfrm>
            <a:off x="1068760" y="2374102"/>
            <a:ext cx="2194656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all" spc="0" normalizeH="0" noProof="0" dirty="0">
                <a:ln>
                  <a:noFill/>
                </a:ln>
                <a:solidFill>
                  <a:srgbClr val="0C3D6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nfrastructur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FFD203A-1D48-489D-9513-F82A08E30284}"/>
              </a:ext>
            </a:extLst>
          </p:cNvPr>
          <p:cNvSpPr>
            <a:spLocks/>
          </p:cNvSpPr>
          <p:nvPr/>
        </p:nvSpPr>
        <p:spPr>
          <a:xfrm>
            <a:off x="4338402" y="5197482"/>
            <a:ext cx="69668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rove awareness and enable North Carolinians to realize the benefits of high-speed </a:t>
            </a:r>
            <a:br>
              <a:rPr lang="en-US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et through digital literacy and upskilling aimed at accessing the digital economy.</a:t>
            </a:r>
            <a:endParaRPr kumimoji="0" lang="en-US" sz="11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rackerNumWhite 11">
            <a:extLst>
              <a:ext uri="{FF2B5EF4-FFF2-40B4-BE49-F238E27FC236}">
                <a16:creationId xmlns:a16="http://schemas.microsoft.com/office/drawing/2014/main" id="{CE73D1D0-0106-46E8-9CE2-CB14315D2B3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257160" y="5266916"/>
            <a:ext cx="761239" cy="292018"/>
          </a:xfrm>
          <a:prstGeom prst="round2SameRect">
            <a:avLst/>
          </a:prstGeom>
          <a:solidFill>
            <a:schemeClr val="bg2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50M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AD87B9F-8480-473B-A135-2AC586BC47D5}"/>
              </a:ext>
            </a:extLst>
          </p:cNvPr>
          <p:cNvSpPr txBox="1">
            <a:spLocks/>
          </p:cNvSpPr>
          <p:nvPr/>
        </p:nvSpPr>
        <p:spPr>
          <a:xfrm>
            <a:off x="1055179" y="5197096"/>
            <a:ext cx="219382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all" spc="0" normalizeH="0" noProof="0" dirty="0">
                <a:ln>
                  <a:noFill/>
                </a:ln>
                <a:solidFill>
                  <a:srgbClr val="0C3D6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wareness and </a:t>
            </a:r>
            <a:br>
              <a:rPr kumimoji="0" lang="en-US" b="1" i="0" strike="noStrike" kern="1200" cap="all" spc="0" normalizeH="0" noProof="0" dirty="0">
                <a:ln>
                  <a:noFill/>
                </a:ln>
                <a:solidFill>
                  <a:srgbClr val="0C3D6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b="1" i="0" strike="noStrike" kern="1200" cap="all" spc="0" normalizeH="0" noProof="0" dirty="0">
                <a:ln>
                  <a:noFill/>
                </a:ln>
                <a:solidFill>
                  <a:srgbClr val="0C3D6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igital Literacy</a:t>
            </a:r>
            <a:endParaRPr kumimoji="0" lang="en-US" b="0" i="0" strike="noStrike" kern="1200" cap="all" spc="0" normalizeH="0" noProof="0" dirty="0">
              <a:ln>
                <a:noFill/>
              </a:ln>
              <a:solidFill>
                <a:srgbClr val="0C3D6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9" name="CustomIcon">
            <a:extLst>
              <a:ext uri="{FF2B5EF4-FFF2-40B4-BE49-F238E27FC236}">
                <a16:creationId xmlns:a16="http://schemas.microsoft.com/office/drawing/2014/main" id="{2F2BE76D-F00A-40A2-9217-1EA930FC53DE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539561" y="5222263"/>
            <a:ext cx="439432" cy="439432"/>
            <a:chOff x="-200025" y="-207010"/>
            <a:chExt cx="1019810" cy="1019810"/>
          </a:xfrm>
          <a:solidFill>
            <a:srgbClr val="0C3D61"/>
          </a:solidFill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06FF4AD-8FC5-4CCF-8704-4D81EDAAD5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grpFill/>
            <a:ln w="6350" cap="sq">
              <a:pattFill prst="solidDmnd">
                <a:fgClr>
                  <a:srgbClr val="0C4169"/>
                </a:fgClr>
                <a:bgClr>
                  <a:srgbClr val="0C4169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3A37F0AB-3DAD-4369-979E-7A1DDCB01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0221A3F-E5AD-4269-8724-06AD752BE5E1}"/>
              </a:ext>
            </a:extLst>
          </p:cNvPr>
          <p:cNvSpPr>
            <a:spLocks/>
          </p:cNvSpPr>
          <p:nvPr/>
        </p:nvSpPr>
        <p:spPr>
          <a:xfrm>
            <a:off x="4345485" y="6113686"/>
            <a:ext cx="72315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lement existing state administrative capacity to support high-speed internet efforts.</a:t>
            </a:r>
            <a:endParaRPr kumimoji="0" lang="en-US" sz="11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rackerNumWhite 11">
            <a:extLst>
              <a:ext uri="{FF2B5EF4-FFF2-40B4-BE49-F238E27FC236}">
                <a16:creationId xmlns:a16="http://schemas.microsoft.com/office/drawing/2014/main" id="{7951F803-0A72-4069-813E-7AD0C2752E9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3249004" y="6129523"/>
            <a:ext cx="856296" cy="292018"/>
          </a:xfrm>
          <a:prstGeom prst="round2SameRect">
            <a:avLst/>
          </a:prstGeom>
          <a:solidFill>
            <a:schemeClr val="bg2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15M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FC9A89C7-32D7-45F3-A8BD-9A24771DCF2A}"/>
              </a:ext>
            </a:extLst>
          </p:cNvPr>
          <p:cNvSpPr>
            <a:spLocks noChangeAspect="1"/>
          </p:cNvSpPr>
          <p:nvPr/>
        </p:nvSpPr>
        <p:spPr>
          <a:xfrm>
            <a:off x="539561" y="6027300"/>
            <a:ext cx="439432" cy="439432"/>
          </a:xfrm>
          <a:prstGeom prst="ellipse">
            <a:avLst/>
          </a:prstGeom>
          <a:solidFill>
            <a:srgbClr val="0C3D61"/>
          </a:solidFill>
          <a:ln w="6350" cap="sq">
            <a:pattFill prst="solidDmnd">
              <a:fgClr>
                <a:srgbClr val="0C4169"/>
              </a:fgClr>
              <a:bgClr>
                <a:srgbClr val="0C4169"/>
              </a:bgClr>
            </a:patt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6F4FC5A-F614-4DCE-89B8-51F9E4951134}"/>
              </a:ext>
            </a:extLst>
          </p:cNvPr>
          <p:cNvSpPr txBox="1">
            <a:spLocks/>
          </p:cNvSpPr>
          <p:nvPr/>
        </p:nvSpPr>
        <p:spPr>
          <a:xfrm>
            <a:off x="1055180" y="6119572"/>
            <a:ext cx="177711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b="1" i="0" strike="noStrike" kern="1200" cap="all" spc="0" normalizeH="0" noProof="0">
                <a:ln>
                  <a:noFill/>
                </a:ln>
                <a:solidFill>
                  <a:srgbClr val="0C3D6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dministrative</a:t>
            </a:r>
          </a:p>
        </p:txBody>
      </p:sp>
      <p:pic>
        <p:nvPicPr>
          <p:cNvPr id="80" name="CustomIcon">
            <a:extLst>
              <a:ext uri="{FF2B5EF4-FFF2-40B4-BE49-F238E27FC236}">
                <a16:creationId xmlns:a16="http://schemas.microsoft.com/office/drawing/2014/main" id="{E4308FED-079D-4CD5-AAD9-045FA5307BA0}"/>
              </a:ext>
            </a:extLst>
          </p:cNvPr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47447" y="6144039"/>
            <a:ext cx="241078" cy="241076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3B3859E9-088D-4F57-92EB-16D2AE9722E0}"/>
              </a:ext>
            </a:extLst>
          </p:cNvPr>
          <p:cNvSpPr txBox="1">
            <a:spLocks/>
          </p:cNvSpPr>
          <p:nvPr/>
        </p:nvSpPr>
        <p:spPr>
          <a:xfrm>
            <a:off x="4339069" y="4100760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Broadband Make Ready Accelerator (Pole Replacement Fund) </a:t>
            </a:r>
            <a:endParaRPr kumimoji="0" lang="en-US" sz="1400" b="0" i="0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TrackerNumWhite 11">
            <a:extLst>
              <a:ext uri="{FF2B5EF4-FFF2-40B4-BE49-F238E27FC236}">
                <a16:creationId xmlns:a16="http://schemas.microsoft.com/office/drawing/2014/main" id="{F92A795F-F638-4966-9615-2AFB365C2706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3264082" y="4077713"/>
            <a:ext cx="761239" cy="292018"/>
          </a:xfrm>
          <a:prstGeom prst="round2SameRect">
            <a:avLst/>
          </a:prstGeom>
          <a:solidFill>
            <a:srgbClr val="8DBDE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100M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CEBA8C4-93D1-49FA-B02D-B5050A12BEDF}"/>
              </a:ext>
            </a:extLst>
          </p:cNvPr>
          <p:cNvSpPr txBox="1">
            <a:spLocks/>
          </p:cNvSpPr>
          <p:nvPr/>
        </p:nvSpPr>
        <p:spPr>
          <a:xfrm>
            <a:off x="4338402" y="4511675"/>
            <a:ext cx="696688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>
                <a:cs typeface="Arial" panose="020B0604020202020204" pitchFamily="34" charset="0"/>
              </a:defRPr>
            </a:lvl1pPr>
            <a:lvl2pPr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2pPr>
            <a:lvl3pPr marL="660400" lvl="2" indent="-1889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600" dirty="0"/>
            </a:lvl3pPr>
            <a:lvl4pPr marL="914400" lvl="3" indent="-2460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4pPr>
            <a:lvl5pPr marL="1125538" lvl="4" indent="-2111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Broadband Mapping</a:t>
            </a:r>
            <a:endParaRPr kumimoji="0" lang="en-US" sz="1400" b="0" i="0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TrackerNumWhite 11">
            <a:extLst>
              <a:ext uri="{FF2B5EF4-FFF2-40B4-BE49-F238E27FC236}">
                <a16:creationId xmlns:a16="http://schemas.microsoft.com/office/drawing/2014/main" id="{6102B5A9-0CA2-498D-A826-978940FACCE1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3263415" y="4488628"/>
            <a:ext cx="761239" cy="292018"/>
          </a:xfrm>
          <a:prstGeom prst="round2SameRect">
            <a:avLst/>
          </a:prstGeom>
          <a:solidFill>
            <a:srgbClr val="8DBDE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$1M</a:t>
            </a:r>
          </a:p>
        </p:txBody>
      </p:sp>
      <p:grpSp>
        <p:nvGrpSpPr>
          <p:cNvPr id="99" name="CustomIcon">
            <a:extLst>
              <a:ext uri="{FF2B5EF4-FFF2-40B4-BE49-F238E27FC236}">
                <a16:creationId xmlns:a16="http://schemas.microsoft.com/office/drawing/2014/main" id="{54ABF5E8-176C-4680-90B6-8D857B1FAF7D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>
          <a:xfrm>
            <a:off x="551783" y="2264401"/>
            <a:ext cx="439432" cy="439432"/>
            <a:chOff x="-200025" y="-207010"/>
            <a:chExt cx="1019810" cy="1019810"/>
          </a:xfrm>
          <a:solidFill>
            <a:srgbClr val="0C3D61"/>
          </a:solidFill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8E6AF81A-EA51-43C2-8644-A2010B19C9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grpFill/>
            <a:ln w="6350" cap="sq">
              <a:pattFill prst="solidDmnd">
                <a:fgClr>
                  <a:srgbClr val="0C4169"/>
                </a:fgClr>
                <a:bgClr>
                  <a:srgbClr val="0C4169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E7A99927-147A-4D6A-A7CE-11BD3EAF8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0076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EMPLATELASTEDITED" val="2021-02-19 09:31 AM"/>
  <p:tag name="DSS_ID" val="c3886b5b-4a58-41f6-81e8-56d9c8d68974"/>
  <p:tag name="ICONFILLBACKGROUND" val="Color [A=255, R=255, G=255, B=255]"/>
  <p:tag name="ICONFILLBACKGROUNDTHEME" val="Background 1"/>
  <p:tag name="ICONENCLOSURE" val="False"/>
  <p:tag name="THINKCELLPRESENTATIONDONOTDELETE" val="&lt;?xml version=&quot;1.0&quot; encoding=&quot;UTF-16&quot; standalone=&quot;yes&quot;?&gt;&lt;root reqver=&quot;25060&quot;&gt;&lt;version val=&quot;284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CONLINEFILL" val="Color [A=255, R=12, G=65, B=105]"/>
  <p:tag name="ICONLINEFILLTHEME" val="Background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.n9WbakRUjiczJHcY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WiRa38xrUNepz4cSJx4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JFQmQnarPmQYBqoLwhK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1"/>
  <p:tag name="2LEVEL" val="10.5"/>
  <p:tag name="3LEVEL" val="5.25"/>
  <p:tag name="4LEVEL" val="2.62"/>
  <p:tag name="5LEVEL" val="1.3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IIQ1lZJGzHb_NxvMMh6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Stron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Stron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Stron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IIQ1lZJGzHb_NxvMMh6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10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3.xml><?xml version="1.0" encoding="utf-8"?>
<a:theme xmlns:a="http://schemas.openxmlformats.org/drawingml/2006/main" name="7_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4.xml><?xml version="1.0" encoding="utf-8"?>
<a:theme xmlns:a="http://schemas.openxmlformats.org/drawingml/2006/main" name="14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5.xml><?xml version="1.0" encoding="utf-8"?>
<a:theme xmlns:a="http://schemas.openxmlformats.org/drawingml/2006/main" name="16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6.xml><?xml version="1.0" encoding="utf-8"?>
<a:theme xmlns:a="http://schemas.openxmlformats.org/drawingml/2006/main" name="1_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7.xml><?xml version="1.0" encoding="utf-8"?>
<a:theme xmlns:a="http://schemas.openxmlformats.org/drawingml/2006/main" name="2_Contrast">
  <a:themeElements>
    <a:clrScheme name="Scheme2">
      <a:dk1>
        <a:srgbClr val="FFFFFF"/>
      </a:dk1>
      <a:lt1>
        <a:srgbClr val="0C4169"/>
      </a:lt1>
      <a:dk2>
        <a:srgbClr val="000000"/>
      </a:dk2>
      <a:lt2>
        <a:srgbClr val="000000"/>
      </a:lt2>
      <a:accent1>
        <a:srgbClr val="FFFFFF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C416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D919DFF1-2F2B-4B16-BDF8-B0AFB4376999}"/>
    </a:ext>
  </a:extLst>
</a:theme>
</file>

<file path=ppt/theme/theme8.xml><?xml version="1.0" encoding="utf-8"?>
<a:theme xmlns:a="http://schemas.openxmlformats.org/drawingml/2006/main" name="1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4169"/>
      </a:accent1>
      <a:accent2>
        <a:srgbClr val="00B0F0"/>
      </a:accent2>
      <a:accent3>
        <a:srgbClr val="397AAC"/>
      </a:accent3>
      <a:accent4>
        <a:srgbClr val="FFC000"/>
      </a:accent4>
      <a:accent5>
        <a:srgbClr val="70AD47"/>
      </a:accent5>
      <a:accent6>
        <a:srgbClr val="C3C3C3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4169"/>
        </a:accent1>
        <a:accent2>
          <a:srgbClr val="00B0F0"/>
        </a:accent2>
        <a:accent3>
          <a:srgbClr val="397AAC"/>
        </a:accent3>
        <a:accent4>
          <a:srgbClr val="FFC000"/>
        </a:accent4>
        <a:accent5>
          <a:srgbClr val="70AD47"/>
        </a:accent5>
        <a:accent6>
          <a:srgbClr val="C3C3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deck - DO NOT EDIT.potx" id="{2B0DE75F-C6A3-49BA-99C2-96949A7B8BE8}" vid="{B246A634-ABD6-497E-8789-1DEFF17C65FA}"/>
    </a:ext>
  </a:extLst>
</a:theme>
</file>

<file path=ppt/theme/theme9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E0E79918832148A4DFCE6FE9ADC4F2" ma:contentTypeVersion="2" ma:contentTypeDescription="Create a new document." ma:contentTypeScope="" ma:versionID="14cf10945d368ae7a31fe9443f593962">
  <xsd:schema xmlns:xsd="http://www.w3.org/2001/XMLSchema" xmlns:xs="http://www.w3.org/2001/XMLSchema" xmlns:p="http://schemas.microsoft.com/office/2006/metadata/properties" xmlns:ns3="af94805e-e62d-48d2-aa62-f3682ab85e0f" targetNamespace="http://schemas.microsoft.com/office/2006/metadata/properties" ma:root="true" ma:fieldsID="35e18804b0cf0239267c069ce4d0c341" ns3:_="">
    <xsd:import namespace="af94805e-e62d-48d2-aa62-f3682ab85e0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94805e-e62d-48d2-aa62-f3682ab85e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747B29-584C-4D4C-9208-55EFECC869C9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af94805e-e62d-48d2-aa62-f3682ab85e0f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D7C3C840-F2AD-4A30-9D58-DAB22F9B3D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94805e-e62d-48d2-aa62-f3682ab85e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33E550-BB71-4522-B00A-4572C342FEE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deck - DO NOT EDIT!</Template>
  <TotalTime>9477</TotalTime>
  <Words>625</Words>
  <Application>Microsoft Office PowerPoint</Application>
  <PresentationFormat>Widescreen</PresentationFormat>
  <Paragraphs>74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Arial</vt:lpstr>
      <vt:lpstr>Avenir Next LT Pro</vt:lpstr>
      <vt:lpstr>Calibri</vt:lpstr>
      <vt:lpstr>Segoe UI</vt:lpstr>
      <vt:lpstr>Wingdings</vt:lpstr>
      <vt:lpstr>White</vt:lpstr>
      <vt:lpstr>Contrast</vt:lpstr>
      <vt:lpstr>7_Contrast</vt:lpstr>
      <vt:lpstr>14_White</vt:lpstr>
      <vt:lpstr>16_White</vt:lpstr>
      <vt:lpstr>1_Contrast</vt:lpstr>
      <vt:lpstr>2_Contrast</vt:lpstr>
      <vt:lpstr>15_White</vt:lpstr>
      <vt:lpstr>think-cell Slide</vt:lpstr>
      <vt:lpstr>The Digital Divide in North Carolina1</vt:lpstr>
      <vt:lpstr>Closing the Digital Divide in North Carolina</vt:lpstr>
      <vt:lpstr>Measuring Success</vt:lpstr>
      <vt:lpstr>Approach &amp; Initiative Investm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(Calibri 44 pt, bold top-aligned)</dc:title>
  <dc:subject/>
  <dc:creator>Crosby Burns</dc:creator>
  <cp:keywords/>
  <dc:description/>
  <cp:lastModifiedBy>Dickerson, Cristalle H</cp:lastModifiedBy>
  <cp:revision>722</cp:revision>
  <cp:lastPrinted>2018-10-30T20:37:12Z</cp:lastPrinted>
  <dcterms:created xsi:type="dcterms:W3CDTF">2021-02-19T15:13:39Z</dcterms:created>
  <dcterms:modified xsi:type="dcterms:W3CDTF">2022-01-12T14:48:2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1-02-19 09:31 A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6FE0E79918832148A4DFCE6FE9ADC4F2</vt:lpwstr>
  </property>
</Properties>
</file>